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5"/>
  </p:notesMasterIdLst>
  <p:handoutMasterIdLst>
    <p:handoutMasterId r:id="rId26"/>
  </p:handoutMasterIdLst>
  <p:sldIdLst>
    <p:sldId id="260" r:id="rId5"/>
    <p:sldId id="342" r:id="rId6"/>
    <p:sldId id="343" r:id="rId7"/>
    <p:sldId id="344" r:id="rId8"/>
    <p:sldId id="263" r:id="rId9"/>
    <p:sldId id="264" r:id="rId10"/>
    <p:sldId id="345" r:id="rId11"/>
    <p:sldId id="347" r:id="rId12"/>
    <p:sldId id="346" r:id="rId13"/>
    <p:sldId id="266" r:id="rId14"/>
    <p:sldId id="267" r:id="rId15"/>
    <p:sldId id="268" r:id="rId16"/>
    <p:sldId id="269" r:id="rId17"/>
    <p:sldId id="270" r:id="rId18"/>
    <p:sldId id="348" r:id="rId19"/>
    <p:sldId id="339" r:id="rId20"/>
    <p:sldId id="341" r:id="rId21"/>
    <p:sldId id="350" r:id="rId22"/>
    <p:sldId id="311" r:id="rId23"/>
    <p:sldId id="349" r:id="rId24"/>
  </p:sldIdLst>
  <p:sldSz cx="12192000" cy="6858000"/>
  <p:notesSz cx="6794500" cy="9906000"/>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goeno, Dewi Maria" initials="WDM" lastIdx="20" clrIdx="0">
    <p:extLst>
      <p:ext uri="{19B8F6BF-5375-455C-9EA6-DF929625EA0E}">
        <p15:presenceInfo xmlns:p15="http://schemas.microsoft.com/office/powerpoint/2012/main" userId="Wigoeno, Dewi Maria" providerId="None"/>
      </p:ext>
    </p:extLst>
  </p:cmAuthor>
  <p:cmAuthor id="2" name="Strauss, Michael" initials="sr"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8C8C"/>
    <a:srgbClr val="FF9900"/>
    <a:srgbClr val="6BA3C3"/>
    <a:srgbClr val="4BD651"/>
    <a:srgbClr val="00642D"/>
    <a:srgbClr val="C0D9E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43" autoAdjust="0"/>
    <p:restoredTop sz="96357" autoAdjust="0"/>
  </p:normalViewPr>
  <p:slideViewPr>
    <p:cSldViewPr snapToGrid="0" snapToObjects="1">
      <p:cViewPr varScale="1">
        <p:scale>
          <a:sx n="66" d="100"/>
          <a:sy n="66" d="100"/>
        </p:scale>
        <p:origin x="72" y="25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32" d="100"/>
        <a:sy n="132" d="100"/>
      </p:scale>
      <p:origin x="0" y="0"/>
    </p:cViewPr>
  </p:sorterViewPr>
  <p:notesViewPr>
    <p:cSldViewPr snapToGrid="0" snapToObjects="1">
      <p:cViewPr varScale="1">
        <p:scale>
          <a:sx n="41" d="100"/>
          <a:sy n="41" d="100"/>
        </p:scale>
        <p:origin x="2844" y="5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813" cy="4968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8100" y="0"/>
            <a:ext cx="2944813" cy="496888"/>
          </a:xfrm>
          <a:prstGeom prst="rect">
            <a:avLst/>
          </a:prstGeom>
        </p:spPr>
        <p:txBody>
          <a:bodyPr vert="horz" lIns="91440" tIns="45720" rIns="91440" bIns="45720" rtlCol="0"/>
          <a:lstStyle>
            <a:lvl1pPr algn="r">
              <a:defRPr sz="1200"/>
            </a:lvl1pPr>
          </a:lstStyle>
          <a:p>
            <a:fld id="{797D4A26-21D1-478C-8628-25833A96175C}" type="datetimeFigureOut">
              <a:rPr lang="de-DE" smtClean="0"/>
              <a:t>24.10.2018</a:t>
            </a:fld>
            <a:endParaRPr lang="de-DE"/>
          </a:p>
        </p:txBody>
      </p:sp>
      <p:sp>
        <p:nvSpPr>
          <p:cNvPr id="4" name="Fußzeilenplatzhalter 3"/>
          <p:cNvSpPr>
            <a:spLocks noGrp="1"/>
          </p:cNvSpPr>
          <p:nvPr>
            <p:ph type="ftr" sz="quarter" idx="2"/>
          </p:nvPr>
        </p:nvSpPr>
        <p:spPr>
          <a:xfrm>
            <a:off x="0" y="9409113"/>
            <a:ext cx="2944813" cy="4968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8100" y="9409113"/>
            <a:ext cx="2944813" cy="496887"/>
          </a:xfrm>
          <a:prstGeom prst="rect">
            <a:avLst/>
          </a:prstGeom>
        </p:spPr>
        <p:txBody>
          <a:bodyPr vert="horz" lIns="91440" tIns="45720" rIns="91440" bIns="45720" rtlCol="0" anchor="b"/>
          <a:lstStyle>
            <a:lvl1pPr algn="r">
              <a:defRPr sz="1200"/>
            </a:lvl1pPr>
          </a:lstStyle>
          <a:p>
            <a:fld id="{B23FE10F-CA4C-4CDC-A44A-F9F2A6B51E20}" type="slidenum">
              <a:rPr lang="de-DE" smtClean="0"/>
              <a:t>‹#›</a:t>
            </a:fld>
            <a:endParaRPr lang="de-DE"/>
          </a:p>
        </p:txBody>
      </p:sp>
    </p:spTree>
    <p:extLst>
      <p:ext uri="{BB962C8B-B14F-4D97-AF65-F5344CB8AC3E}">
        <p14:creationId xmlns:p14="http://schemas.microsoft.com/office/powerpoint/2010/main" val="7041824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813" cy="4968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48100" y="0"/>
            <a:ext cx="2944813" cy="496888"/>
          </a:xfrm>
          <a:prstGeom prst="rect">
            <a:avLst/>
          </a:prstGeom>
        </p:spPr>
        <p:txBody>
          <a:bodyPr vert="horz" lIns="91440" tIns="45720" rIns="91440" bIns="45720" rtlCol="0"/>
          <a:lstStyle>
            <a:lvl1pPr algn="r">
              <a:defRPr sz="1200"/>
            </a:lvl1pPr>
          </a:lstStyle>
          <a:p>
            <a:fld id="{F9447E62-8D5F-4EA6-A3B3-EAC9873ECAB3}" type="datetimeFigureOut">
              <a:rPr lang="de-DE" smtClean="0"/>
              <a:t>24.10.2018</a:t>
            </a:fld>
            <a:endParaRPr lang="de-DE"/>
          </a:p>
        </p:txBody>
      </p:sp>
      <p:sp>
        <p:nvSpPr>
          <p:cNvPr id="4" name="Folienbildplatzhalter 3"/>
          <p:cNvSpPr>
            <a:spLocks noGrp="1" noRot="1" noChangeAspect="1"/>
          </p:cNvSpPr>
          <p:nvPr>
            <p:ph type="sldImg" idx="2"/>
          </p:nvPr>
        </p:nvSpPr>
        <p:spPr>
          <a:xfrm>
            <a:off x="425450" y="1238250"/>
            <a:ext cx="5943600" cy="334327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450" y="4767263"/>
            <a:ext cx="5435600" cy="3900487"/>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09113"/>
            <a:ext cx="2944813" cy="4968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48100" y="9409113"/>
            <a:ext cx="2944813" cy="496887"/>
          </a:xfrm>
          <a:prstGeom prst="rect">
            <a:avLst/>
          </a:prstGeom>
        </p:spPr>
        <p:txBody>
          <a:bodyPr vert="horz" lIns="91440" tIns="45720" rIns="91440" bIns="45720" rtlCol="0" anchor="b"/>
          <a:lstStyle>
            <a:lvl1pPr algn="r">
              <a:defRPr sz="1200"/>
            </a:lvl1pPr>
          </a:lstStyle>
          <a:p>
            <a:fld id="{DF02EC95-6E15-4E37-8588-BACAF5CA753C}" type="slidenum">
              <a:rPr lang="de-DE" smtClean="0"/>
              <a:t>‹#›</a:t>
            </a:fld>
            <a:endParaRPr lang="de-DE"/>
          </a:p>
        </p:txBody>
      </p:sp>
    </p:spTree>
    <p:extLst>
      <p:ext uri="{BB962C8B-B14F-4D97-AF65-F5344CB8AC3E}">
        <p14:creationId xmlns:p14="http://schemas.microsoft.com/office/powerpoint/2010/main" val="4627854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5450" y="1238250"/>
            <a:ext cx="5943600" cy="33432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F02EC95-6E15-4E37-8588-BACAF5CA753C}" type="slidenum">
              <a:rPr lang="de-DE" smtClean="0"/>
              <a:t>1</a:t>
            </a:fld>
            <a:endParaRPr lang="de-DE"/>
          </a:p>
        </p:txBody>
      </p:sp>
    </p:spTree>
    <p:extLst>
      <p:ext uri="{BB962C8B-B14F-4D97-AF65-F5344CB8AC3E}">
        <p14:creationId xmlns:p14="http://schemas.microsoft.com/office/powerpoint/2010/main" val="3602849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5450" y="1238250"/>
            <a:ext cx="5943600" cy="33432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F02EC95-6E15-4E37-8588-BACAF5CA753C}" type="slidenum">
              <a:rPr lang="de-DE" smtClean="0"/>
              <a:t>5</a:t>
            </a:fld>
            <a:endParaRPr lang="de-DE"/>
          </a:p>
        </p:txBody>
      </p:sp>
    </p:spTree>
    <p:extLst>
      <p:ext uri="{BB962C8B-B14F-4D97-AF65-F5344CB8AC3E}">
        <p14:creationId xmlns:p14="http://schemas.microsoft.com/office/powerpoint/2010/main" val="3426017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5450" y="1238250"/>
            <a:ext cx="5943600" cy="33432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F02EC95-6E15-4E37-8588-BACAF5CA753C}" type="slidenum">
              <a:rPr lang="de-DE" smtClean="0"/>
              <a:t>6</a:t>
            </a:fld>
            <a:endParaRPr lang="de-DE"/>
          </a:p>
        </p:txBody>
      </p:sp>
    </p:spTree>
    <p:extLst>
      <p:ext uri="{BB962C8B-B14F-4D97-AF65-F5344CB8AC3E}">
        <p14:creationId xmlns:p14="http://schemas.microsoft.com/office/powerpoint/2010/main" val="1223596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5450" y="1238250"/>
            <a:ext cx="5943600" cy="33432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F02EC95-6E15-4E37-8588-BACAF5CA753C}" type="slidenum">
              <a:rPr lang="de-DE" smtClean="0"/>
              <a:t>10</a:t>
            </a:fld>
            <a:endParaRPr lang="de-DE"/>
          </a:p>
        </p:txBody>
      </p:sp>
    </p:spTree>
    <p:extLst>
      <p:ext uri="{BB962C8B-B14F-4D97-AF65-F5344CB8AC3E}">
        <p14:creationId xmlns:p14="http://schemas.microsoft.com/office/powerpoint/2010/main" val="2513055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5450" y="1238250"/>
            <a:ext cx="5943600" cy="33432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F02EC95-6E15-4E37-8588-BACAF5CA753C}" type="slidenum">
              <a:rPr lang="de-DE" smtClean="0"/>
              <a:t>11</a:t>
            </a:fld>
            <a:endParaRPr lang="de-DE"/>
          </a:p>
        </p:txBody>
      </p:sp>
    </p:spTree>
    <p:extLst>
      <p:ext uri="{BB962C8B-B14F-4D97-AF65-F5344CB8AC3E}">
        <p14:creationId xmlns:p14="http://schemas.microsoft.com/office/powerpoint/2010/main" val="3680765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5450" y="1238250"/>
            <a:ext cx="5943600" cy="33432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F02EC95-6E15-4E37-8588-BACAF5CA753C}" type="slidenum">
              <a:rPr lang="de-DE" smtClean="0"/>
              <a:t>12</a:t>
            </a:fld>
            <a:endParaRPr lang="de-DE"/>
          </a:p>
        </p:txBody>
      </p:sp>
    </p:spTree>
    <p:extLst>
      <p:ext uri="{BB962C8B-B14F-4D97-AF65-F5344CB8AC3E}">
        <p14:creationId xmlns:p14="http://schemas.microsoft.com/office/powerpoint/2010/main" val="28552376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5450" y="1238250"/>
            <a:ext cx="5943600" cy="33432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F02EC95-6E15-4E37-8588-BACAF5CA753C}" type="slidenum">
              <a:rPr lang="de-DE" smtClean="0"/>
              <a:t>13</a:t>
            </a:fld>
            <a:endParaRPr lang="de-DE"/>
          </a:p>
        </p:txBody>
      </p:sp>
    </p:spTree>
    <p:extLst>
      <p:ext uri="{BB962C8B-B14F-4D97-AF65-F5344CB8AC3E}">
        <p14:creationId xmlns:p14="http://schemas.microsoft.com/office/powerpoint/2010/main" val="1673231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5450" y="1238250"/>
            <a:ext cx="5943600" cy="33432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F02EC95-6E15-4E37-8588-BACAF5CA753C}" type="slidenum">
              <a:rPr lang="de-DE" smtClean="0"/>
              <a:t>14</a:t>
            </a:fld>
            <a:endParaRPr lang="de-DE"/>
          </a:p>
        </p:txBody>
      </p:sp>
    </p:spTree>
    <p:extLst>
      <p:ext uri="{BB962C8B-B14F-4D97-AF65-F5344CB8AC3E}">
        <p14:creationId xmlns:p14="http://schemas.microsoft.com/office/powerpoint/2010/main" val="19660365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5450" y="1238250"/>
            <a:ext cx="5943600" cy="334327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F02EC95-6E15-4E37-8588-BACAF5CA753C}" type="slidenum">
              <a:rPr lang="de-DE" smtClean="0"/>
              <a:t>19</a:t>
            </a:fld>
            <a:endParaRPr lang="de-DE"/>
          </a:p>
        </p:txBody>
      </p:sp>
    </p:spTree>
    <p:extLst>
      <p:ext uri="{BB962C8B-B14F-4D97-AF65-F5344CB8AC3E}">
        <p14:creationId xmlns:p14="http://schemas.microsoft.com/office/powerpoint/2010/main" val="37351442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p:spPr>
        <p:txBody>
          <a:bodyPr/>
          <a:lstStyle/>
          <a:p>
            <a:r>
              <a:rPr lang="de-DE" smtClean="0"/>
              <a:t>Mastertitelformat bearbeiten</a:t>
            </a:r>
            <a:endParaRPr lang="de-DE"/>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Master-Untertitelformat bearbeiten</a:t>
            </a:r>
            <a:endParaRPr lang="de-DE"/>
          </a:p>
        </p:txBody>
      </p:sp>
      <p:sp>
        <p:nvSpPr>
          <p:cNvPr id="5" name="Fußzeilenplatzhalter 4"/>
          <p:cNvSpPr>
            <a:spLocks noGrp="1"/>
          </p:cNvSpPr>
          <p:nvPr>
            <p:ph type="ftr" sz="quarter" idx="11"/>
          </p:nvPr>
        </p:nvSpPr>
        <p:spPr/>
        <p:txBody>
          <a:bodyPr/>
          <a:lstStyle/>
          <a:p>
            <a:endParaRPr lang="de-DE"/>
          </a:p>
        </p:txBody>
      </p:sp>
      <p:sp>
        <p:nvSpPr>
          <p:cNvPr id="7" name="Rechteck 6"/>
          <p:cNvSpPr/>
          <p:nvPr userDrawn="1"/>
        </p:nvSpPr>
        <p:spPr>
          <a:xfrm>
            <a:off x="0" y="1"/>
            <a:ext cx="12192000" cy="98531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a:p>
        </p:txBody>
      </p:sp>
      <p:pic>
        <p:nvPicPr>
          <p:cNvPr id="8" name="Bild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898580"/>
          </a:xfrm>
          <a:prstGeom prst="rect">
            <a:avLst/>
          </a:prstGeom>
        </p:spPr>
      </p:pic>
      <p:sp>
        <p:nvSpPr>
          <p:cNvPr id="9" name="Rechteck 8"/>
          <p:cNvSpPr/>
          <p:nvPr userDrawn="1"/>
        </p:nvSpPr>
        <p:spPr>
          <a:xfrm>
            <a:off x="0" y="6680235"/>
            <a:ext cx="12192000" cy="1800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000" dirty="0">
              <a:solidFill>
                <a:srgbClr val="262626"/>
              </a:solidFill>
              <a:latin typeface="Arial"/>
              <a:cs typeface="Arial"/>
            </a:endParaRPr>
          </a:p>
        </p:txBody>
      </p:sp>
      <p:sp>
        <p:nvSpPr>
          <p:cNvPr id="10" name="Rechteck 9"/>
          <p:cNvSpPr/>
          <p:nvPr userDrawn="1"/>
        </p:nvSpPr>
        <p:spPr>
          <a:xfrm>
            <a:off x="4476804" y="6643741"/>
            <a:ext cx="4080000" cy="246221"/>
          </a:xfrm>
          <a:prstGeom prst="rect">
            <a:avLst/>
          </a:prstGeom>
        </p:spPr>
        <p:txBody>
          <a:bodyPr wrap="square">
            <a:spAutoFit/>
          </a:bodyPr>
          <a:lstStyle/>
          <a:p>
            <a:pPr algn="ctr"/>
            <a:r>
              <a:rPr lang="de-DE" sz="1000" dirty="0">
                <a:solidFill>
                  <a:schemeClr val="tx1">
                    <a:lumMod val="50000"/>
                    <a:lumOff val="50000"/>
                  </a:schemeClr>
                </a:solidFill>
                <a:latin typeface="Arial"/>
                <a:cs typeface="Arial"/>
              </a:rPr>
              <a:t>IO-Link Basics, Technology </a:t>
            </a:r>
            <a:r>
              <a:rPr lang="de-DE" sz="1000" dirty="0" err="1">
                <a:solidFill>
                  <a:schemeClr val="tx1">
                    <a:lumMod val="50000"/>
                    <a:lumOff val="50000"/>
                  </a:schemeClr>
                </a:solidFill>
                <a:latin typeface="Arial"/>
                <a:cs typeface="Arial"/>
              </a:rPr>
              <a:t>and</a:t>
            </a:r>
            <a:r>
              <a:rPr lang="de-DE" sz="1000" dirty="0">
                <a:solidFill>
                  <a:schemeClr val="tx1">
                    <a:lumMod val="50000"/>
                    <a:lumOff val="50000"/>
                  </a:schemeClr>
                </a:solidFill>
                <a:latin typeface="Arial"/>
                <a:cs typeface="Arial"/>
              </a:rPr>
              <a:t> Customer </a:t>
            </a:r>
            <a:r>
              <a:rPr lang="de-DE" sz="1000" dirty="0" err="1">
                <a:solidFill>
                  <a:schemeClr val="tx1">
                    <a:lumMod val="50000"/>
                    <a:lumOff val="50000"/>
                  </a:schemeClr>
                </a:solidFill>
                <a:latin typeface="Arial"/>
                <a:cs typeface="Arial"/>
              </a:rPr>
              <a:t>Benefits</a:t>
            </a:r>
            <a:endParaRPr lang="de-DE" sz="1000" dirty="0">
              <a:solidFill>
                <a:schemeClr val="tx1">
                  <a:lumMod val="50000"/>
                  <a:lumOff val="50000"/>
                </a:schemeClr>
              </a:solidFill>
              <a:latin typeface="Arial"/>
              <a:cs typeface="Arial"/>
            </a:endParaRPr>
          </a:p>
        </p:txBody>
      </p:sp>
      <p:pic>
        <p:nvPicPr>
          <p:cNvPr id="11" name="Bild 4" descr="Logo_IO-link_grau.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61617" y="6699778"/>
            <a:ext cx="867020" cy="135255"/>
          </a:xfrm>
          <a:prstGeom prst="rect">
            <a:avLst/>
          </a:prstGeom>
        </p:spPr>
      </p:pic>
      <p:sp>
        <p:nvSpPr>
          <p:cNvPr id="4" name="Datumsplatzhalter 3"/>
          <p:cNvSpPr>
            <a:spLocks noGrp="1"/>
          </p:cNvSpPr>
          <p:nvPr>
            <p:ph type="dt" sz="half" idx="10"/>
          </p:nvPr>
        </p:nvSpPr>
        <p:spPr>
          <a:xfrm>
            <a:off x="609600" y="6592327"/>
            <a:ext cx="2844800" cy="365125"/>
          </a:xfrm>
        </p:spPr>
        <p:txBody>
          <a:bodyPr/>
          <a:lstStyle/>
          <a:p>
            <a:r>
              <a:rPr lang="de-DE" smtClean="0"/>
              <a:t>pw 12.2015</a:t>
            </a:r>
            <a:endParaRPr lang="de-DE" dirty="0"/>
          </a:p>
        </p:txBody>
      </p:sp>
      <p:sp>
        <p:nvSpPr>
          <p:cNvPr id="6" name="Foliennummernplatzhalter 5"/>
          <p:cNvSpPr>
            <a:spLocks noGrp="1"/>
          </p:cNvSpPr>
          <p:nvPr>
            <p:ph type="sldNum" sz="quarter" idx="12"/>
          </p:nvPr>
        </p:nvSpPr>
        <p:spPr>
          <a:xfrm>
            <a:off x="8737600" y="6592327"/>
            <a:ext cx="2844800" cy="365125"/>
          </a:xfrm>
        </p:spPr>
        <p:txBody>
          <a:bodyPr/>
          <a:lstStyle/>
          <a:p>
            <a:fld id="{09AD34A2-EE0D-B74D-A5FF-4EBBE21DF867}" type="slidenum">
              <a:rPr lang="de-DE" smtClean="0"/>
              <a:t>‹#›</a:t>
            </a:fld>
            <a:endParaRPr lang="de-DE"/>
          </a:p>
        </p:txBody>
      </p:sp>
    </p:spTree>
    <p:extLst>
      <p:ext uri="{BB962C8B-B14F-4D97-AF65-F5344CB8AC3E}">
        <p14:creationId xmlns:p14="http://schemas.microsoft.com/office/powerpoint/2010/main" val="39270764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Vertikaler Textplatzhalter 2"/>
          <p:cNvSpPr>
            <a:spLocks noGrp="1"/>
          </p:cNvSpPr>
          <p:nvPr>
            <p:ph type="body" orient="vert" idx="1"/>
          </p:nvPr>
        </p:nvSpPr>
        <p:spPr/>
        <p:txBody>
          <a:bodyPr vert="eaVert"/>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r>
              <a:rPr lang="de-DE" smtClean="0"/>
              <a:t>pw 12.2015</a:t>
            </a:r>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09AD34A2-EE0D-B74D-A5FF-4EBBE21DF867}" type="slidenum">
              <a:rPr lang="de-DE" smtClean="0"/>
              <a:t>‹#›</a:t>
            </a:fld>
            <a:endParaRPr lang="de-DE"/>
          </a:p>
        </p:txBody>
      </p:sp>
    </p:spTree>
    <p:extLst>
      <p:ext uri="{BB962C8B-B14F-4D97-AF65-F5344CB8AC3E}">
        <p14:creationId xmlns:p14="http://schemas.microsoft.com/office/powerpoint/2010/main" val="30795745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4639"/>
            <a:ext cx="2743200" cy="5851525"/>
          </a:xfrm>
        </p:spPr>
        <p:txBody>
          <a:bodyPr vert="eaVert"/>
          <a:lstStyle/>
          <a:p>
            <a:r>
              <a:rPr lang="de-DE" smtClean="0"/>
              <a:t>Mastertitelformat bearbeiten</a:t>
            </a:r>
            <a:endParaRPr lang="de-DE"/>
          </a:p>
        </p:txBody>
      </p:sp>
      <p:sp>
        <p:nvSpPr>
          <p:cNvPr id="3" name="Vertikaler Textplatzhalter 2"/>
          <p:cNvSpPr>
            <a:spLocks noGrp="1"/>
          </p:cNvSpPr>
          <p:nvPr>
            <p:ph type="body" orient="vert" idx="1"/>
          </p:nvPr>
        </p:nvSpPr>
        <p:spPr>
          <a:xfrm>
            <a:off x="609600" y="274639"/>
            <a:ext cx="8026400" cy="5851525"/>
          </a:xfrm>
        </p:spPr>
        <p:txBody>
          <a:bodyPr vert="eaVert"/>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r>
              <a:rPr lang="de-DE" smtClean="0"/>
              <a:t>pw 12.2015</a:t>
            </a:r>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09AD34A2-EE0D-B74D-A5FF-4EBBE21DF867}" type="slidenum">
              <a:rPr lang="de-DE" smtClean="0"/>
              <a:t>‹#›</a:t>
            </a:fld>
            <a:endParaRPr lang="de-DE"/>
          </a:p>
        </p:txBody>
      </p:sp>
    </p:spTree>
    <p:extLst>
      <p:ext uri="{BB962C8B-B14F-4D97-AF65-F5344CB8AC3E}">
        <p14:creationId xmlns:p14="http://schemas.microsoft.com/office/powerpoint/2010/main" val="3652796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Inhaltsplatzhalter 2"/>
          <p:cNvSpPr>
            <a:spLocks noGrp="1"/>
          </p:cNvSpPr>
          <p:nvPr>
            <p:ph idx="1"/>
          </p:nvPr>
        </p:nvSpPr>
        <p:spPr/>
        <p:txBody>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r>
              <a:rPr lang="de-DE" smtClean="0"/>
              <a:t>pw 12.2015</a:t>
            </a:r>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09AD34A2-EE0D-B74D-A5FF-4EBBE21DF867}" type="slidenum">
              <a:rPr lang="de-DE" smtClean="0"/>
              <a:t>‹#›</a:t>
            </a:fld>
            <a:endParaRPr lang="de-DE"/>
          </a:p>
        </p:txBody>
      </p:sp>
    </p:spTree>
    <p:extLst>
      <p:ext uri="{BB962C8B-B14F-4D97-AF65-F5344CB8AC3E}">
        <p14:creationId xmlns:p14="http://schemas.microsoft.com/office/powerpoint/2010/main" val="7877608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de-DE" smtClean="0"/>
              <a:t>Mastertitelformat bearbeiten</a:t>
            </a:r>
            <a:endParaRPr lang="de-DE"/>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Mastertextformat bearbeiten</a:t>
            </a:r>
          </a:p>
        </p:txBody>
      </p:sp>
      <p:sp>
        <p:nvSpPr>
          <p:cNvPr id="4" name="Datumsplatzhalter 3"/>
          <p:cNvSpPr>
            <a:spLocks noGrp="1"/>
          </p:cNvSpPr>
          <p:nvPr>
            <p:ph type="dt" sz="half" idx="10"/>
          </p:nvPr>
        </p:nvSpPr>
        <p:spPr/>
        <p:txBody>
          <a:bodyPr/>
          <a:lstStyle/>
          <a:p>
            <a:r>
              <a:rPr lang="de-DE" smtClean="0"/>
              <a:t>pw 12.2015</a:t>
            </a:r>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09AD34A2-EE0D-B74D-A5FF-4EBBE21DF867}" type="slidenum">
              <a:rPr lang="de-DE" smtClean="0"/>
              <a:t>‹#›</a:t>
            </a:fld>
            <a:endParaRPr lang="de-DE"/>
          </a:p>
        </p:txBody>
      </p:sp>
    </p:spTree>
    <p:extLst>
      <p:ext uri="{BB962C8B-B14F-4D97-AF65-F5344CB8AC3E}">
        <p14:creationId xmlns:p14="http://schemas.microsoft.com/office/powerpoint/2010/main" val="17151916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Inhaltsplatzhalt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r>
              <a:rPr lang="de-DE" smtClean="0"/>
              <a:t>pw 12.2015</a:t>
            </a:r>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09AD34A2-EE0D-B74D-A5FF-4EBBE21DF867}" type="slidenum">
              <a:rPr lang="de-DE" smtClean="0"/>
              <a:t>‹#›</a:t>
            </a:fld>
            <a:endParaRPr lang="de-DE"/>
          </a:p>
        </p:txBody>
      </p:sp>
    </p:spTree>
    <p:extLst>
      <p:ext uri="{BB962C8B-B14F-4D97-AF65-F5344CB8AC3E}">
        <p14:creationId xmlns:p14="http://schemas.microsoft.com/office/powerpoint/2010/main" val="40311512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Mastertitelformat bearbeiten</a:t>
            </a:r>
            <a:endParaRPr lang="de-DE"/>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Mastertextformat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Mastertextformat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r>
              <a:rPr lang="de-DE" smtClean="0"/>
              <a:t>pw 12.2015</a:t>
            </a:r>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09AD34A2-EE0D-B74D-A5FF-4EBBE21DF867}" type="slidenum">
              <a:rPr lang="de-DE" smtClean="0"/>
              <a:t>‹#›</a:t>
            </a:fld>
            <a:endParaRPr lang="de-DE"/>
          </a:p>
        </p:txBody>
      </p:sp>
    </p:spTree>
    <p:extLst>
      <p:ext uri="{BB962C8B-B14F-4D97-AF65-F5344CB8AC3E}">
        <p14:creationId xmlns:p14="http://schemas.microsoft.com/office/powerpoint/2010/main" val="10326285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Datumsplatzhalter 2"/>
          <p:cNvSpPr>
            <a:spLocks noGrp="1"/>
          </p:cNvSpPr>
          <p:nvPr>
            <p:ph type="dt" sz="half" idx="10"/>
          </p:nvPr>
        </p:nvSpPr>
        <p:spPr/>
        <p:txBody>
          <a:bodyPr/>
          <a:lstStyle/>
          <a:p>
            <a:r>
              <a:rPr lang="de-DE" smtClean="0"/>
              <a:t>pw 12.2015</a:t>
            </a:r>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09AD34A2-EE0D-B74D-A5FF-4EBBE21DF867}" type="slidenum">
              <a:rPr lang="de-DE" smtClean="0"/>
              <a:t>‹#›</a:t>
            </a:fld>
            <a:endParaRPr lang="de-DE"/>
          </a:p>
        </p:txBody>
      </p:sp>
    </p:spTree>
    <p:extLst>
      <p:ext uri="{BB962C8B-B14F-4D97-AF65-F5344CB8AC3E}">
        <p14:creationId xmlns:p14="http://schemas.microsoft.com/office/powerpoint/2010/main" val="22668196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smtClean="0"/>
              <a:t>pw 12.2015</a:t>
            </a:r>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09AD34A2-EE0D-B74D-A5FF-4EBBE21DF867}" type="slidenum">
              <a:rPr lang="de-DE" smtClean="0"/>
              <a:t>‹#›</a:t>
            </a:fld>
            <a:endParaRPr lang="de-DE"/>
          </a:p>
        </p:txBody>
      </p:sp>
    </p:spTree>
    <p:extLst>
      <p:ext uri="{BB962C8B-B14F-4D97-AF65-F5344CB8AC3E}">
        <p14:creationId xmlns:p14="http://schemas.microsoft.com/office/powerpoint/2010/main" val="6448782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p:spPr>
        <p:txBody>
          <a:bodyPr anchor="b"/>
          <a:lstStyle>
            <a:lvl1pPr algn="l">
              <a:defRPr sz="2000" b="1"/>
            </a:lvl1pPr>
          </a:lstStyle>
          <a:p>
            <a:r>
              <a:rPr lang="de-DE" smtClean="0"/>
              <a:t>Mastertitelformat bearbeiten</a:t>
            </a:r>
            <a:endParaRPr lang="de-DE"/>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Mastertextformat bearbeiten</a:t>
            </a:r>
          </a:p>
        </p:txBody>
      </p:sp>
      <p:sp>
        <p:nvSpPr>
          <p:cNvPr id="5" name="Datumsplatzhalter 4"/>
          <p:cNvSpPr>
            <a:spLocks noGrp="1"/>
          </p:cNvSpPr>
          <p:nvPr>
            <p:ph type="dt" sz="half" idx="10"/>
          </p:nvPr>
        </p:nvSpPr>
        <p:spPr/>
        <p:txBody>
          <a:bodyPr/>
          <a:lstStyle/>
          <a:p>
            <a:r>
              <a:rPr lang="de-DE" smtClean="0"/>
              <a:t>pw 12.2015</a:t>
            </a:r>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09AD34A2-EE0D-B74D-A5FF-4EBBE21DF867}" type="slidenum">
              <a:rPr lang="de-DE" smtClean="0"/>
              <a:t>‹#›</a:t>
            </a:fld>
            <a:endParaRPr lang="de-DE"/>
          </a:p>
        </p:txBody>
      </p:sp>
    </p:spTree>
    <p:extLst>
      <p:ext uri="{BB962C8B-B14F-4D97-AF65-F5344CB8AC3E}">
        <p14:creationId xmlns:p14="http://schemas.microsoft.com/office/powerpoint/2010/main" val="39788976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smtClean="0"/>
              <a:t>Mastertitelformat bearbeiten</a:t>
            </a:r>
            <a:endParaRPr lang="de-DE"/>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Mastertextformat bearbeiten</a:t>
            </a:r>
          </a:p>
        </p:txBody>
      </p:sp>
      <p:sp>
        <p:nvSpPr>
          <p:cNvPr id="5" name="Datumsplatzhalter 4"/>
          <p:cNvSpPr>
            <a:spLocks noGrp="1"/>
          </p:cNvSpPr>
          <p:nvPr>
            <p:ph type="dt" sz="half" idx="10"/>
          </p:nvPr>
        </p:nvSpPr>
        <p:spPr/>
        <p:txBody>
          <a:bodyPr/>
          <a:lstStyle/>
          <a:p>
            <a:r>
              <a:rPr lang="de-DE" smtClean="0"/>
              <a:t>pw 12.2015</a:t>
            </a:r>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09AD34A2-EE0D-B74D-A5FF-4EBBE21DF867}" type="slidenum">
              <a:rPr lang="de-DE" smtClean="0"/>
              <a:t>‹#›</a:t>
            </a:fld>
            <a:endParaRPr lang="de-DE"/>
          </a:p>
        </p:txBody>
      </p:sp>
    </p:spTree>
    <p:extLst>
      <p:ext uri="{BB962C8B-B14F-4D97-AF65-F5344CB8AC3E}">
        <p14:creationId xmlns:p14="http://schemas.microsoft.com/office/powerpoint/2010/main" val="40809486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de-DE" smtClean="0"/>
              <a:t>Mastertitelformat bearbeiten</a:t>
            </a:r>
            <a:endParaRPr lang="de-DE"/>
          </a:p>
        </p:txBody>
      </p:sp>
      <p:sp>
        <p:nvSpPr>
          <p:cNvPr id="3" name="Textplatzhalt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de-DE" smtClean="0"/>
              <a:t>pw 12.2015</a:t>
            </a:r>
            <a:endParaRPr lang="de-DE"/>
          </a:p>
        </p:txBody>
      </p:sp>
      <p:sp>
        <p:nvSpPr>
          <p:cNvPr id="5" name="Fußzeilenplatzhalt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AD34A2-EE0D-B74D-A5FF-4EBBE21DF867}" type="slidenum">
              <a:rPr lang="de-DE" smtClean="0"/>
              <a:t>‹#›</a:t>
            </a:fld>
            <a:endParaRPr lang="de-DE"/>
          </a:p>
        </p:txBody>
      </p:sp>
    </p:spTree>
    <p:extLst>
      <p:ext uri="{BB962C8B-B14F-4D97-AF65-F5344CB8AC3E}">
        <p14:creationId xmlns:p14="http://schemas.microsoft.com/office/powerpoint/2010/main" val="31779723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gif"/><Relationship Id="rId3" Type="http://schemas.openxmlformats.org/officeDocument/2006/relationships/image" Target="../media/image3.jpg"/><Relationship Id="rId7" Type="http://schemas.microsoft.com/office/2007/relationships/hdphoto" Target="../media/hdphoto2.wdp"/><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jpeg"/><Relationship Id="rId5" Type="http://schemas.microsoft.com/office/2007/relationships/hdphoto" Target="../media/hdphoto1.wdp"/><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xml"/><Relationship Id="rId1" Type="http://schemas.openxmlformats.org/officeDocument/2006/relationships/tags" Target="../tags/tag21.xml"/><Relationship Id="rId6" Type="http://schemas.microsoft.com/office/2007/relationships/hdphoto" Target="../media/hdphoto3.wdp"/><Relationship Id="rId5" Type="http://schemas.openxmlformats.org/officeDocument/2006/relationships/image" Target="../media/image27.jpeg"/><Relationship Id="rId4"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tags" Target="../tags/tag23.xml"/><Relationship Id="rId6" Type="http://schemas.microsoft.com/office/2007/relationships/hdphoto" Target="../media/hdphoto3.wdp"/><Relationship Id="rId5" Type="http://schemas.openxmlformats.org/officeDocument/2006/relationships/image" Target="../media/image27.jpeg"/><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6.xml"/><Relationship Id="rId1" Type="http://schemas.openxmlformats.org/officeDocument/2006/relationships/tags" Target="../tags/tag25.xml"/><Relationship Id="rId6" Type="http://schemas.microsoft.com/office/2007/relationships/hdphoto" Target="../media/hdphoto4.wdp"/><Relationship Id="rId5" Type="http://schemas.openxmlformats.org/officeDocument/2006/relationships/image" Target="../media/image27.jpeg"/><Relationship Id="rId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27.xml"/><Relationship Id="rId5" Type="http://schemas.microsoft.com/office/2007/relationships/hdphoto" Target="../media/hdphoto4.wdp"/><Relationship Id="rId4" Type="http://schemas.openxmlformats.org/officeDocument/2006/relationships/image" Target="../media/image27.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28.xml"/><Relationship Id="rId5" Type="http://schemas.microsoft.com/office/2007/relationships/hdphoto" Target="../media/hdphoto4.wdp"/><Relationship Id="rId4" Type="http://schemas.openxmlformats.org/officeDocument/2006/relationships/image" Target="../media/image27.jpeg"/></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jpeg"/><Relationship Id="rId3" Type="http://schemas.openxmlformats.org/officeDocument/2006/relationships/image" Target="../media/image1.jpg"/><Relationship Id="rId7" Type="http://schemas.openxmlformats.org/officeDocument/2006/relationships/image" Target="../media/image32.jpeg"/><Relationship Id="rId12" Type="http://schemas.openxmlformats.org/officeDocument/2006/relationships/image" Target="../media/image37.png"/><Relationship Id="rId2"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image" Target="../media/image31.jp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3" Type="http://schemas.openxmlformats.org/officeDocument/2006/relationships/image" Target="../media/image40.png"/><Relationship Id="rId21" Type="http://schemas.openxmlformats.org/officeDocument/2006/relationships/image" Target="../media/image58.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5" Type="http://schemas.openxmlformats.org/officeDocument/2006/relationships/image" Target="../media/image62.jpg"/><Relationship Id="rId2" Type="http://schemas.openxmlformats.org/officeDocument/2006/relationships/notesSlide" Target="../notesSlides/notesSlide9.xml"/><Relationship Id="rId16" Type="http://schemas.openxmlformats.org/officeDocument/2006/relationships/image" Target="../media/image53.png"/><Relationship Id="rId20" Type="http://schemas.openxmlformats.org/officeDocument/2006/relationships/image" Target="../media/image57.png"/><Relationship Id="rId1" Type="http://schemas.openxmlformats.org/officeDocument/2006/relationships/slideLayout" Target="../slideLayouts/slideLayout1.xml"/><Relationship Id="rId6" Type="http://schemas.openxmlformats.org/officeDocument/2006/relationships/image" Target="../media/image43.png"/><Relationship Id="rId11" Type="http://schemas.openxmlformats.org/officeDocument/2006/relationships/image" Target="../media/image48.png"/><Relationship Id="rId24" Type="http://schemas.openxmlformats.org/officeDocument/2006/relationships/image" Target="../media/image61.png"/><Relationship Id="rId5" Type="http://schemas.openxmlformats.org/officeDocument/2006/relationships/image" Target="../media/image42.png"/><Relationship Id="rId15" Type="http://schemas.openxmlformats.org/officeDocument/2006/relationships/image" Target="../media/image52.png"/><Relationship Id="rId23" Type="http://schemas.openxmlformats.org/officeDocument/2006/relationships/image" Target="../media/image60.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 Id="rId22" Type="http://schemas.openxmlformats.org/officeDocument/2006/relationships/image" Target="../media/image59.png"/></Relationships>
</file>

<file path=ppt/slides/_rels/slid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2.xml"/><Relationship Id="rId7" Type="http://schemas.openxmlformats.org/officeDocument/2006/relationships/slideLayout" Target="../slideLayouts/slideLayout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8.png"/><Relationship Id="rId5" Type="http://schemas.openxmlformats.org/officeDocument/2006/relationships/tags" Target="../tags/tag4.xml"/><Relationship Id="rId10"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notesSlide" Target="../notesSlides/notesSlide3.xml"/><Relationship Id="rId3" Type="http://schemas.openxmlformats.org/officeDocument/2006/relationships/tags" Target="../tags/tag7.xml"/><Relationship Id="rId21" Type="http://schemas.openxmlformats.org/officeDocument/2006/relationships/image" Target="../media/image8.png"/><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slideLayout" Target="../slideLayouts/slideLayout1.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oleObject" Target="../embeddings/oleObject2.bin"/><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image" Target="../media/image12.JPG"/><Relationship Id="rId10" Type="http://schemas.openxmlformats.org/officeDocument/2006/relationships/tags" Target="../tags/tag14.xml"/><Relationship Id="rId19" Type="http://schemas.openxmlformats.org/officeDocument/2006/relationships/image" Target="../media/image10.pn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image" Target="../media/image1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jpeg"/><Relationship Id="rId2" Type="http://schemas.openxmlformats.org/officeDocument/2006/relationships/image" Target="../media/image16.png"/><Relationship Id="rId1" Type="http://schemas.openxmlformats.org/officeDocument/2006/relationships/slideLayout" Target="../slideLayouts/slideLayout1.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1"/>
          <p:cNvSpPr txBox="1">
            <a:spLocks/>
          </p:cNvSpPr>
          <p:nvPr/>
        </p:nvSpPr>
        <p:spPr>
          <a:xfrm>
            <a:off x="2984500" y="1670534"/>
            <a:ext cx="7651750" cy="1161170"/>
          </a:xfrm>
          <a:prstGeom prst="rect">
            <a:avLst/>
          </a:prstGeom>
        </p:spPr>
        <p:txBody>
          <a:bodyPr vert="horz" lIns="0" tIns="45720" rIns="91440" bIns="45720" rtlCol="0" anchor="ctr"/>
          <a:lstStyle>
            <a:defPPr>
              <a:defRPr lang="de-DE"/>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de-DE" sz="2200" b="1" dirty="0">
                <a:solidFill>
                  <a:srgbClr val="FF9900"/>
                </a:solidFill>
                <a:latin typeface="Arial"/>
                <a:ea typeface="MS PGothic" charset="0"/>
                <a:cs typeface="Arial"/>
              </a:rPr>
              <a:t>IO Link First step towards Industry 4.0</a:t>
            </a:r>
            <a:endParaRPr lang="de-DE" sz="2200" b="1" dirty="0">
              <a:solidFill>
                <a:srgbClr val="FF9900"/>
              </a:solidFill>
              <a:latin typeface="Arial"/>
              <a:cs typeface="Arial"/>
            </a:endParaRPr>
          </a:p>
        </p:txBody>
      </p:sp>
      <p:pic>
        <p:nvPicPr>
          <p:cNvPr id="3" name="Bild 2" descr="Font IO-Link fbg.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2535958"/>
            <a:ext cx="9144000" cy="4322043"/>
          </a:xfrm>
          <a:prstGeom prst="rect">
            <a:avLst/>
          </a:prstGeom>
        </p:spPr>
      </p:pic>
      <p:pic>
        <p:nvPicPr>
          <p:cNvPr id="12" name="Bild 15" descr="Bild 9.png"/>
          <p:cNvPicPr>
            <a:picLocks noChangeAspect="1"/>
          </p:cNvPicPr>
          <p:nvPr/>
        </p:nvPicPr>
        <p:blipFill>
          <a:blip r:embed="rId4">
            <a:alphaModFix amt="70000"/>
            <a:extLst>
              <a:ext uri="{BEBA8EAE-BF5A-486C-A8C5-ECC9F3942E4B}">
                <a14:imgProps xmlns:a14="http://schemas.microsoft.com/office/drawing/2010/main">
                  <a14:imgLayer r:embed="rId5">
                    <a14:imgEffect>
                      <a14:saturation sat="0"/>
                    </a14:imgEffect>
                    <a14:imgEffect>
                      <a14:brightnessContrast bright="11000" contrast="-15000"/>
                    </a14:imgEffect>
                  </a14:imgLayer>
                </a14:imgProps>
              </a:ext>
              <a:ext uri="{28A0092B-C50C-407E-A947-70E740481C1C}">
                <a14:useLocalDpi xmlns:a14="http://schemas.microsoft.com/office/drawing/2010/main" val="0"/>
              </a:ext>
            </a:extLst>
          </a:blip>
          <a:srcRect/>
          <a:stretch>
            <a:fillRect/>
          </a:stretch>
        </p:blipFill>
        <p:spPr bwMode="auto">
          <a:xfrm>
            <a:off x="2984501" y="897422"/>
            <a:ext cx="8285163" cy="741363"/>
          </a:xfrm>
          <a:prstGeom prst="rect">
            <a:avLst/>
          </a:prstGeom>
          <a:noFill/>
          <a:ln w="38100">
            <a:noFill/>
            <a:miter lim="800000"/>
            <a:headEnd/>
            <a:tailEnd/>
          </a:ln>
          <a:extLst>
            <a:ext uri="{909E8E84-426E-40dd-AFC4-6F175D3DCCD1}">
              <a14:hiddenFill xmlns:a14="http://schemas.microsoft.com/office/drawing/2010/main" xmlns="">
                <a:solidFill>
                  <a:srgbClr val="FFFFFF"/>
                </a:solidFill>
              </a14:hiddenFill>
            </a:ext>
          </a:extLst>
        </p:spPr>
      </p:pic>
      <p:sp>
        <p:nvSpPr>
          <p:cNvPr id="6" name="Rechteck 5"/>
          <p:cNvSpPr/>
          <p:nvPr/>
        </p:nvSpPr>
        <p:spPr>
          <a:xfrm>
            <a:off x="2984500" y="1711268"/>
            <a:ext cx="7683500" cy="36000"/>
          </a:xfrm>
          <a:prstGeom prst="rect">
            <a:avLst/>
          </a:prstGeom>
          <a:solidFill>
            <a:srgbClr val="FF99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3" name="Bild 1" descr="Bild 4.png"/>
          <p:cNvPicPr>
            <a:picLocks noChangeAspect="1"/>
          </p:cNvPicPr>
          <p:nvPr/>
        </p:nvPicPr>
        <p:blipFill>
          <a:blip r:embed="rId6">
            <a:alphaModFix amt="48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220720" y="290662"/>
            <a:ext cx="1071562" cy="2128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Foliennummernplatzhalter 4"/>
          <p:cNvSpPr>
            <a:spLocks noGrp="1"/>
          </p:cNvSpPr>
          <p:nvPr>
            <p:ph type="sldNum" sz="quarter" idx="12"/>
          </p:nvPr>
        </p:nvSpPr>
        <p:spPr/>
        <p:txBody>
          <a:bodyPr/>
          <a:lstStyle/>
          <a:p>
            <a:fld id="{09AD34A2-EE0D-B74D-A5FF-4EBBE21DF867}" type="slidenum">
              <a:rPr lang="de-DE" smtClean="0"/>
              <a:t>1</a:t>
            </a:fld>
            <a:endParaRPr lang="de-DE"/>
          </a:p>
        </p:txBody>
      </p:sp>
      <p:grpSp>
        <p:nvGrpSpPr>
          <p:cNvPr id="10" name="Gruppieren 9"/>
          <p:cNvGrpSpPr/>
          <p:nvPr/>
        </p:nvGrpSpPr>
        <p:grpSpPr>
          <a:xfrm>
            <a:off x="1786391" y="3269018"/>
            <a:ext cx="8285258" cy="1735385"/>
            <a:chOff x="271668" y="4518737"/>
            <a:chExt cx="8285258" cy="1735385"/>
          </a:xfrm>
        </p:grpSpPr>
        <p:sp>
          <p:nvSpPr>
            <p:cNvPr id="14" name="Textfeld 13"/>
            <p:cNvSpPr txBox="1"/>
            <p:nvPr/>
          </p:nvSpPr>
          <p:spPr>
            <a:xfrm>
              <a:off x="271668" y="5669347"/>
              <a:ext cx="8285258" cy="584775"/>
            </a:xfrm>
            <a:prstGeom prst="rect">
              <a:avLst/>
            </a:prstGeom>
            <a:noFill/>
          </p:spPr>
          <p:txBody>
            <a:bodyPr wrap="square" rtlCol="0">
              <a:spAutoFit/>
            </a:bodyPr>
            <a:lstStyle/>
            <a:p>
              <a:r>
                <a:rPr lang="de-DE" sz="3200" b="1" dirty="0">
                  <a:solidFill>
                    <a:srgbClr val="FF9900"/>
                  </a:solidFill>
                </a:rPr>
                <a:t>ifm electronic</a:t>
              </a:r>
              <a:r>
                <a:rPr lang="de-DE" sz="3200" dirty="0"/>
                <a:t> – </a:t>
              </a:r>
              <a:r>
                <a:rPr lang="de-DE" sz="3200" dirty="0" err="1"/>
                <a:t>we</a:t>
              </a:r>
              <a:r>
                <a:rPr lang="de-DE" sz="3200" dirty="0"/>
                <a:t> </a:t>
              </a:r>
              <a:r>
                <a:rPr lang="de-DE" sz="3200" dirty="0" err="1"/>
                <a:t>connect</a:t>
              </a:r>
              <a:r>
                <a:rPr lang="de-DE" sz="3200" dirty="0"/>
                <a:t> </a:t>
              </a:r>
              <a:r>
                <a:rPr lang="de-DE" sz="3200" dirty="0" err="1"/>
                <a:t>you</a:t>
              </a:r>
              <a:endParaRPr lang="de-DE" sz="3200" dirty="0"/>
            </a:p>
          </p:txBody>
        </p:sp>
        <p:pic>
          <p:nvPicPr>
            <p:cNvPr id="15" name="Grafik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97270" y="4518737"/>
              <a:ext cx="1895061" cy="361921"/>
            </a:xfrm>
            <a:prstGeom prst="rect">
              <a:avLst/>
            </a:prstGeom>
          </p:spPr>
        </p:pic>
      </p:grpSp>
    </p:spTree>
    <p:extLst>
      <p:ext uri="{BB962C8B-B14F-4D97-AF65-F5344CB8AC3E}">
        <p14:creationId xmlns:p14="http://schemas.microsoft.com/office/powerpoint/2010/main" val="617729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ung 2"/>
          <p:cNvGrpSpPr/>
          <p:nvPr/>
        </p:nvGrpSpPr>
        <p:grpSpPr>
          <a:xfrm>
            <a:off x="8266800" y="4652650"/>
            <a:ext cx="2052638" cy="1649412"/>
            <a:chOff x="7308850" y="5148264"/>
            <a:chExt cx="2052638" cy="1649412"/>
          </a:xfrm>
        </p:grpSpPr>
        <p:pic>
          <p:nvPicPr>
            <p:cNvPr id="20" name="Picture 71" descr="Lebenszyklus_2009_04_09"/>
            <p:cNvPicPr>
              <a:picLocks noChangeAspect="1" noChangeArrowheads="1"/>
            </p:cNvPicPr>
            <p:nvPr>
              <p:custDataLst>
                <p:tags r:id="rId2"/>
              </p:custDataLst>
            </p:nvPr>
          </p:nvPicPr>
          <p:blipFill>
            <a:blip r:embed="rId5">
              <a:clrChange>
                <a:clrFrom>
                  <a:srgbClr val="FFFFFF"/>
                </a:clrFrom>
                <a:clrTo>
                  <a:srgbClr val="FFFFFF">
                    <a:alpha val="0"/>
                  </a:srgbClr>
                </a:clrTo>
              </a:clrChange>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308850" y="5148264"/>
              <a:ext cx="2052638" cy="1649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 name="Freeform 80"/>
            <p:cNvSpPr>
              <a:spLocks/>
            </p:cNvSpPr>
            <p:nvPr/>
          </p:nvSpPr>
          <p:spPr bwMode="auto">
            <a:xfrm>
              <a:off x="7364413" y="5437188"/>
              <a:ext cx="1804988" cy="1360487"/>
            </a:xfrm>
            <a:custGeom>
              <a:avLst/>
              <a:gdLst>
                <a:gd name="T0" fmla="*/ 561 w 1137"/>
                <a:gd name="T1" fmla="*/ 270 h 799"/>
                <a:gd name="T2" fmla="*/ 467 w 1137"/>
                <a:gd name="T3" fmla="*/ 231 h 799"/>
                <a:gd name="T4" fmla="*/ 389 w 1137"/>
                <a:gd name="T5" fmla="*/ 192 h 799"/>
                <a:gd name="T6" fmla="*/ 374 w 1137"/>
                <a:gd name="T7" fmla="*/ 168 h 799"/>
                <a:gd name="T8" fmla="*/ 350 w 1137"/>
                <a:gd name="T9" fmla="*/ 153 h 799"/>
                <a:gd name="T10" fmla="*/ 343 w 1137"/>
                <a:gd name="T11" fmla="*/ 129 h 799"/>
                <a:gd name="T12" fmla="*/ 280 w 1137"/>
                <a:gd name="T13" fmla="*/ 75 h 799"/>
                <a:gd name="T14" fmla="*/ 47 w 1137"/>
                <a:gd name="T15" fmla="*/ 75 h 799"/>
                <a:gd name="T16" fmla="*/ 0 w 1137"/>
                <a:gd name="T17" fmla="*/ 137 h 799"/>
                <a:gd name="T18" fmla="*/ 23 w 1137"/>
                <a:gd name="T19" fmla="*/ 277 h 799"/>
                <a:gd name="T20" fmla="*/ 31 w 1137"/>
                <a:gd name="T21" fmla="*/ 417 h 799"/>
                <a:gd name="T22" fmla="*/ 39 w 1137"/>
                <a:gd name="T23" fmla="*/ 464 h 799"/>
                <a:gd name="T24" fmla="*/ 47 w 1137"/>
                <a:gd name="T25" fmla="*/ 604 h 799"/>
                <a:gd name="T26" fmla="*/ 94 w 1137"/>
                <a:gd name="T27" fmla="*/ 651 h 799"/>
                <a:gd name="T28" fmla="*/ 125 w 1137"/>
                <a:gd name="T29" fmla="*/ 698 h 799"/>
                <a:gd name="T30" fmla="*/ 280 w 1137"/>
                <a:gd name="T31" fmla="*/ 760 h 799"/>
                <a:gd name="T32" fmla="*/ 374 w 1137"/>
                <a:gd name="T33" fmla="*/ 791 h 799"/>
                <a:gd name="T34" fmla="*/ 397 w 1137"/>
                <a:gd name="T35" fmla="*/ 799 h 799"/>
                <a:gd name="T36" fmla="*/ 491 w 1137"/>
                <a:gd name="T37" fmla="*/ 791 h 799"/>
                <a:gd name="T38" fmla="*/ 514 w 1137"/>
                <a:gd name="T39" fmla="*/ 775 h 799"/>
                <a:gd name="T40" fmla="*/ 561 w 1137"/>
                <a:gd name="T41" fmla="*/ 760 h 799"/>
                <a:gd name="T42" fmla="*/ 592 w 1137"/>
                <a:gd name="T43" fmla="*/ 737 h 799"/>
                <a:gd name="T44" fmla="*/ 677 w 1137"/>
                <a:gd name="T45" fmla="*/ 744 h 799"/>
                <a:gd name="T46" fmla="*/ 895 w 1137"/>
                <a:gd name="T47" fmla="*/ 737 h 799"/>
                <a:gd name="T48" fmla="*/ 1035 w 1137"/>
                <a:gd name="T49" fmla="*/ 573 h 799"/>
                <a:gd name="T50" fmla="*/ 1051 w 1137"/>
                <a:gd name="T51" fmla="*/ 526 h 799"/>
                <a:gd name="T52" fmla="*/ 1059 w 1137"/>
                <a:gd name="T53" fmla="*/ 386 h 799"/>
                <a:gd name="T54" fmla="*/ 1113 w 1137"/>
                <a:gd name="T55" fmla="*/ 308 h 799"/>
                <a:gd name="T56" fmla="*/ 1028 w 1137"/>
                <a:gd name="T57" fmla="*/ 52 h 799"/>
                <a:gd name="T58" fmla="*/ 841 w 1137"/>
                <a:gd name="T59" fmla="*/ 75 h 799"/>
                <a:gd name="T60" fmla="*/ 779 w 1137"/>
                <a:gd name="T61" fmla="*/ 129 h 799"/>
                <a:gd name="T62" fmla="*/ 708 w 1137"/>
                <a:gd name="T63" fmla="*/ 168 h 799"/>
                <a:gd name="T64" fmla="*/ 693 w 1137"/>
                <a:gd name="T65" fmla="*/ 192 h 799"/>
                <a:gd name="T66" fmla="*/ 646 w 1137"/>
                <a:gd name="T67" fmla="*/ 207 h 799"/>
                <a:gd name="T68" fmla="*/ 576 w 1137"/>
                <a:gd name="T69" fmla="*/ 246 h 799"/>
                <a:gd name="T70" fmla="*/ 561 w 1137"/>
                <a:gd name="T71" fmla="*/ 270 h 79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37"/>
                <a:gd name="T109" fmla="*/ 0 h 799"/>
                <a:gd name="T110" fmla="*/ 1137 w 1137"/>
                <a:gd name="T111" fmla="*/ 799 h 79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37" h="799">
                  <a:moveTo>
                    <a:pt x="561" y="270"/>
                  </a:moveTo>
                  <a:cubicBezTo>
                    <a:pt x="527" y="259"/>
                    <a:pt x="500" y="241"/>
                    <a:pt x="467" y="231"/>
                  </a:cubicBezTo>
                  <a:cubicBezTo>
                    <a:pt x="440" y="203"/>
                    <a:pt x="427" y="201"/>
                    <a:pt x="389" y="192"/>
                  </a:cubicBezTo>
                  <a:cubicBezTo>
                    <a:pt x="384" y="184"/>
                    <a:pt x="381" y="175"/>
                    <a:pt x="374" y="168"/>
                  </a:cubicBezTo>
                  <a:cubicBezTo>
                    <a:pt x="367" y="161"/>
                    <a:pt x="356" y="160"/>
                    <a:pt x="350" y="153"/>
                  </a:cubicBezTo>
                  <a:cubicBezTo>
                    <a:pt x="345" y="146"/>
                    <a:pt x="347" y="136"/>
                    <a:pt x="343" y="129"/>
                  </a:cubicBezTo>
                  <a:cubicBezTo>
                    <a:pt x="330" y="102"/>
                    <a:pt x="304" y="90"/>
                    <a:pt x="280" y="75"/>
                  </a:cubicBezTo>
                  <a:cubicBezTo>
                    <a:pt x="231" y="0"/>
                    <a:pt x="115" y="28"/>
                    <a:pt x="47" y="75"/>
                  </a:cubicBezTo>
                  <a:cubicBezTo>
                    <a:pt x="30" y="100"/>
                    <a:pt x="10" y="108"/>
                    <a:pt x="0" y="137"/>
                  </a:cubicBezTo>
                  <a:cubicBezTo>
                    <a:pt x="6" y="203"/>
                    <a:pt x="7" y="224"/>
                    <a:pt x="23" y="277"/>
                  </a:cubicBezTo>
                  <a:cubicBezTo>
                    <a:pt x="26" y="324"/>
                    <a:pt x="27" y="370"/>
                    <a:pt x="31" y="417"/>
                  </a:cubicBezTo>
                  <a:cubicBezTo>
                    <a:pt x="32" y="433"/>
                    <a:pt x="38" y="448"/>
                    <a:pt x="39" y="464"/>
                  </a:cubicBezTo>
                  <a:cubicBezTo>
                    <a:pt x="43" y="511"/>
                    <a:pt x="34" y="559"/>
                    <a:pt x="47" y="604"/>
                  </a:cubicBezTo>
                  <a:cubicBezTo>
                    <a:pt x="53" y="625"/>
                    <a:pt x="78" y="635"/>
                    <a:pt x="94" y="651"/>
                  </a:cubicBezTo>
                  <a:cubicBezTo>
                    <a:pt x="107" y="664"/>
                    <a:pt x="109" y="688"/>
                    <a:pt x="125" y="698"/>
                  </a:cubicBezTo>
                  <a:cubicBezTo>
                    <a:pt x="183" y="737"/>
                    <a:pt x="208" y="751"/>
                    <a:pt x="280" y="760"/>
                  </a:cubicBezTo>
                  <a:cubicBezTo>
                    <a:pt x="336" y="778"/>
                    <a:pt x="318" y="772"/>
                    <a:pt x="374" y="791"/>
                  </a:cubicBezTo>
                  <a:cubicBezTo>
                    <a:pt x="382" y="794"/>
                    <a:pt x="397" y="799"/>
                    <a:pt x="397" y="799"/>
                  </a:cubicBezTo>
                  <a:cubicBezTo>
                    <a:pt x="428" y="796"/>
                    <a:pt x="460" y="797"/>
                    <a:pt x="491" y="791"/>
                  </a:cubicBezTo>
                  <a:cubicBezTo>
                    <a:pt x="500" y="789"/>
                    <a:pt x="505" y="779"/>
                    <a:pt x="514" y="775"/>
                  </a:cubicBezTo>
                  <a:cubicBezTo>
                    <a:pt x="529" y="768"/>
                    <a:pt x="561" y="760"/>
                    <a:pt x="561" y="760"/>
                  </a:cubicBezTo>
                  <a:cubicBezTo>
                    <a:pt x="571" y="752"/>
                    <a:pt x="579" y="739"/>
                    <a:pt x="592" y="737"/>
                  </a:cubicBezTo>
                  <a:cubicBezTo>
                    <a:pt x="620" y="733"/>
                    <a:pt x="649" y="744"/>
                    <a:pt x="677" y="744"/>
                  </a:cubicBezTo>
                  <a:cubicBezTo>
                    <a:pt x="750" y="744"/>
                    <a:pt x="822" y="739"/>
                    <a:pt x="895" y="737"/>
                  </a:cubicBezTo>
                  <a:cubicBezTo>
                    <a:pt x="975" y="710"/>
                    <a:pt x="987" y="633"/>
                    <a:pt x="1035" y="573"/>
                  </a:cubicBezTo>
                  <a:cubicBezTo>
                    <a:pt x="1040" y="557"/>
                    <a:pt x="1050" y="543"/>
                    <a:pt x="1051" y="526"/>
                  </a:cubicBezTo>
                  <a:cubicBezTo>
                    <a:pt x="1054" y="479"/>
                    <a:pt x="1048" y="431"/>
                    <a:pt x="1059" y="386"/>
                  </a:cubicBezTo>
                  <a:cubicBezTo>
                    <a:pt x="1066" y="355"/>
                    <a:pt x="1096" y="335"/>
                    <a:pt x="1113" y="308"/>
                  </a:cubicBezTo>
                  <a:cubicBezTo>
                    <a:pt x="1109" y="217"/>
                    <a:pt x="1137" y="85"/>
                    <a:pt x="1028" y="52"/>
                  </a:cubicBezTo>
                  <a:cubicBezTo>
                    <a:pt x="963" y="58"/>
                    <a:pt x="907" y="69"/>
                    <a:pt x="841" y="75"/>
                  </a:cubicBezTo>
                  <a:cubicBezTo>
                    <a:pt x="806" y="87"/>
                    <a:pt x="803" y="105"/>
                    <a:pt x="779" y="129"/>
                  </a:cubicBezTo>
                  <a:cubicBezTo>
                    <a:pt x="761" y="147"/>
                    <a:pt x="730" y="154"/>
                    <a:pt x="708" y="168"/>
                  </a:cubicBezTo>
                  <a:cubicBezTo>
                    <a:pt x="703" y="176"/>
                    <a:pt x="701" y="187"/>
                    <a:pt x="693" y="192"/>
                  </a:cubicBezTo>
                  <a:cubicBezTo>
                    <a:pt x="679" y="201"/>
                    <a:pt x="646" y="207"/>
                    <a:pt x="646" y="207"/>
                  </a:cubicBezTo>
                  <a:cubicBezTo>
                    <a:pt x="625" y="222"/>
                    <a:pt x="599" y="236"/>
                    <a:pt x="576" y="246"/>
                  </a:cubicBezTo>
                  <a:cubicBezTo>
                    <a:pt x="527" y="268"/>
                    <a:pt x="507" y="257"/>
                    <a:pt x="561" y="270"/>
                  </a:cubicBezTo>
                  <a:close/>
                </a:path>
              </a:pathLst>
            </a:custGeom>
            <a:solidFill>
              <a:schemeClr val="bg1">
                <a:alpha val="59999"/>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de-DE"/>
            </a:p>
          </p:txBody>
        </p:sp>
      </p:grpSp>
      <p:sp>
        <p:nvSpPr>
          <p:cNvPr id="9" name="Textplatzhalter 1"/>
          <p:cNvSpPr txBox="1">
            <a:spLocks/>
          </p:cNvSpPr>
          <p:nvPr/>
        </p:nvSpPr>
        <p:spPr>
          <a:xfrm>
            <a:off x="2244000" y="1080000"/>
            <a:ext cx="4616450" cy="540000"/>
          </a:xfrm>
          <a:prstGeom prst="rect">
            <a:avLst/>
          </a:prstGeom>
        </p:spPr>
        <p:txBody>
          <a:bodyPr vert="horz" lIns="0" tIns="45720" rIns="91440" bIns="45720" rtlCol="0" anchor="ctr"/>
          <a:lstStyle>
            <a:defPPr>
              <a:defRPr lang="de-DE"/>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de-DE" sz="2000" b="1" dirty="0">
                <a:solidFill>
                  <a:srgbClr val="FF9900"/>
                </a:solidFill>
                <a:latin typeface="Arial"/>
                <a:ea typeface="MS PGothic" charset="0"/>
                <a:cs typeface="Arial"/>
              </a:rPr>
              <a:t>Market </a:t>
            </a:r>
            <a:r>
              <a:rPr lang="de-DE" sz="2000" b="1" dirty="0" err="1">
                <a:solidFill>
                  <a:srgbClr val="FF9900"/>
                </a:solidFill>
                <a:latin typeface="Arial"/>
                <a:ea typeface="MS PGothic" charset="0"/>
                <a:cs typeface="Arial"/>
              </a:rPr>
              <a:t>and</a:t>
            </a:r>
            <a:r>
              <a:rPr lang="de-DE" sz="2000" b="1" dirty="0">
                <a:solidFill>
                  <a:srgbClr val="FF9900"/>
                </a:solidFill>
                <a:latin typeface="Arial"/>
                <a:ea typeface="MS PGothic" charset="0"/>
                <a:cs typeface="Arial"/>
              </a:rPr>
              <a:t> Demand</a:t>
            </a:r>
            <a:endParaRPr lang="de-DE" sz="2000" b="1" dirty="0">
              <a:solidFill>
                <a:srgbClr val="FF9900"/>
              </a:solidFill>
              <a:latin typeface="Arial"/>
              <a:cs typeface="Arial"/>
            </a:endParaRPr>
          </a:p>
        </p:txBody>
      </p:sp>
      <p:sp>
        <p:nvSpPr>
          <p:cNvPr id="18" name="Rectangle 3"/>
          <p:cNvSpPr txBox="1">
            <a:spLocks noChangeArrowheads="1"/>
          </p:cNvSpPr>
          <p:nvPr>
            <p:custDataLst>
              <p:tags r:id="rId1"/>
            </p:custDataLst>
          </p:nvPr>
        </p:nvSpPr>
        <p:spPr>
          <a:xfrm>
            <a:off x="2244000" y="1897598"/>
            <a:ext cx="6647950" cy="4404463"/>
          </a:xfrm>
          <a:prstGeom prst="rect">
            <a:avLst/>
          </a:prstGeom>
          <a:noFill/>
        </p:spPr>
        <p:txBody>
          <a:bodyPr vert="horz" lIns="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90000"/>
              </a:lnSpc>
            </a:pPr>
            <a:r>
              <a:rPr lang="de-DE" sz="1800" b="1" dirty="0">
                <a:solidFill>
                  <a:schemeClr val="tx1"/>
                </a:solidFill>
                <a:latin typeface="Arial"/>
                <a:ea typeface="MS PGothic" charset="0"/>
                <a:cs typeface="Arial"/>
              </a:rPr>
              <a:t>New Innovative </a:t>
            </a:r>
            <a:r>
              <a:rPr lang="de-DE" sz="1800" b="1" dirty="0" err="1">
                <a:solidFill>
                  <a:schemeClr val="tx1"/>
                </a:solidFill>
                <a:latin typeface="Arial"/>
                <a:ea typeface="MS PGothic" charset="0"/>
                <a:cs typeface="Arial"/>
              </a:rPr>
              <a:t>Machine</a:t>
            </a:r>
            <a:r>
              <a:rPr lang="de-DE" sz="1800" b="1" dirty="0">
                <a:solidFill>
                  <a:schemeClr val="tx1"/>
                </a:solidFill>
                <a:latin typeface="Arial"/>
                <a:ea typeface="MS PGothic" charset="0"/>
                <a:cs typeface="Arial"/>
              </a:rPr>
              <a:t> </a:t>
            </a:r>
            <a:r>
              <a:rPr lang="de-DE" sz="1800" b="1" dirty="0" err="1">
                <a:solidFill>
                  <a:schemeClr val="tx1"/>
                </a:solidFill>
                <a:latin typeface="Arial"/>
                <a:ea typeface="MS PGothic" charset="0"/>
                <a:cs typeface="Arial"/>
              </a:rPr>
              <a:t>Concepts</a:t>
            </a:r>
            <a:endParaRPr lang="de-DE" sz="1800" b="1" dirty="0">
              <a:solidFill>
                <a:schemeClr val="tx1"/>
              </a:solidFill>
              <a:latin typeface="Arial"/>
              <a:ea typeface="MS PGothic" charset="0"/>
              <a:cs typeface="Arial"/>
            </a:endParaRPr>
          </a:p>
          <a:p>
            <a:pPr algn="l">
              <a:lnSpc>
                <a:spcPct val="90000"/>
              </a:lnSpc>
            </a:pPr>
            <a:r>
              <a:rPr lang="de-DE" sz="800" b="1" dirty="0">
                <a:solidFill>
                  <a:schemeClr val="tx1"/>
                </a:solidFill>
                <a:latin typeface="Arial"/>
                <a:ea typeface="MS PGothic" charset="0"/>
                <a:cs typeface="Arial"/>
              </a:rPr>
              <a:t>  </a:t>
            </a:r>
          </a:p>
          <a:p>
            <a:pPr algn="l">
              <a:lnSpc>
                <a:spcPct val="90000"/>
              </a:lnSpc>
            </a:pPr>
            <a:r>
              <a:rPr lang="de-DE" sz="1800" dirty="0">
                <a:solidFill>
                  <a:srgbClr val="FF9900"/>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Simplified</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installation</a:t>
            </a:r>
            <a:r>
              <a:rPr lang="de-DE" sz="1800" dirty="0">
                <a:solidFill>
                  <a:schemeClr val="tx1"/>
                </a:solidFill>
                <a:latin typeface="Arial"/>
                <a:ea typeface="MS PGothic" charset="0"/>
                <a:cs typeface="Arial"/>
              </a:rPr>
              <a:t> </a:t>
            </a:r>
          </a:p>
          <a:p>
            <a:pPr lvl="1" algn="l">
              <a:lnSpc>
                <a:spcPct val="90000"/>
              </a:lnSpc>
            </a:pPr>
            <a:r>
              <a:rPr lang="de-DE" sz="1800" dirty="0">
                <a:solidFill>
                  <a:schemeClr val="bg1">
                    <a:lumMod val="50000"/>
                  </a:schemeClr>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Replacement</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of</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analogu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signals</a:t>
            </a:r>
            <a:endParaRPr lang="de-DE" sz="1800" dirty="0">
              <a:solidFill>
                <a:schemeClr val="tx1"/>
              </a:solidFill>
              <a:latin typeface="Arial"/>
              <a:ea typeface="MS PGothic" charset="0"/>
              <a:cs typeface="Arial"/>
            </a:endParaRPr>
          </a:p>
          <a:p>
            <a:pPr lvl="1" algn="l">
              <a:lnSpc>
                <a:spcPct val="90000"/>
              </a:lnSpc>
            </a:pPr>
            <a:r>
              <a:rPr lang="de-DE" sz="1800" dirty="0">
                <a:solidFill>
                  <a:schemeClr val="bg1">
                    <a:lumMod val="50000"/>
                  </a:schemeClr>
                </a:solidFill>
                <a:latin typeface="Arial" pitchFamily="34" charset="0"/>
              </a:rPr>
              <a:t>• </a:t>
            </a:r>
            <a:r>
              <a:rPr lang="de-DE" sz="1800" dirty="0">
                <a:solidFill>
                  <a:schemeClr val="tx1"/>
                </a:solidFill>
                <a:latin typeface="Arial"/>
                <a:ea typeface="MS PGothic" charset="0"/>
                <a:cs typeface="Arial"/>
              </a:rPr>
              <a:t>Quick </a:t>
            </a:r>
            <a:r>
              <a:rPr lang="de-DE" sz="1800" dirty="0" err="1">
                <a:solidFill>
                  <a:schemeClr val="tx1"/>
                </a:solidFill>
                <a:latin typeface="Arial"/>
                <a:ea typeface="MS PGothic" charset="0"/>
                <a:cs typeface="Arial"/>
              </a:rPr>
              <a:t>and</a:t>
            </a:r>
            <a:r>
              <a:rPr lang="de-DE" sz="1800" dirty="0">
                <a:solidFill>
                  <a:schemeClr val="tx1"/>
                </a:solidFill>
                <a:latin typeface="Arial"/>
                <a:ea typeface="MS PGothic" charset="0"/>
                <a:cs typeface="Arial"/>
              </a:rPr>
              <a:t> easy </a:t>
            </a:r>
            <a:r>
              <a:rPr lang="de-DE" sz="1800" dirty="0" err="1">
                <a:solidFill>
                  <a:schemeClr val="tx1"/>
                </a:solidFill>
                <a:latin typeface="Arial"/>
                <a:ea typeface="MS PGothic" charset="0"/>
                <a:cs typeface="Arial"/>
              </a:rPr>
              <a:t>wiring</a:t>
            </a:r>
            <a:endParaRPr lang="de-DE" sz="1800" dirty="0">
              <a:solidFill>
                <a:schemeClr val="tx1"/>
              </a:solidFill>
              <a:latin typeface="Arial"/>
              <a:ea typeface="MS PGothic" charset="0"/>
              <a:cs typeface="Arial"/>
            </a:endParaRPr>
          </a:p>
          <a:p>
            <a:pPr lvl="1" algn="l">
              <a:lnSpc>
                <a:spcPct val="90000"/>
              </a:lnSpc>
            </a:pPr>
            <a:r>
              <a:rPr lang="de-DE" sz="800" dirty="0">
                <a:solidFill>
                  <a:schemeClr val="tx1"/>
                </a:solidFill>
                <a:latin typeface="Arial"/>
                <a:ea typeface="MS PGothic" charset="0"/>
                <a:cs typeface="Arial"/>
              </a:rPr>
              <a:t>  </a:t>
            </a:r>
          </a:p>
          <a:p>
            <a:pPr algn="l">
              <a:lnSpc>
                <a:spcPct val="90000"/>
              </a:lnSpc>
            </a:pPr>
            <a:r>
              <a:rPr lang="de-DE" sz="1800" dirty="0">
                <a:solidFill>
                  <a:srgbClr val="FF9900"/>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Automated</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parametrization</a:t>
            </a:r>
            <a:endParaRPr lang="de-DE" sz="1800" dirty="0">
              <a:solidFill>
                <a:schemeClr val="tx1"/>
              </a:solidFill>
              <a:latin typeface="Arial"/>
              <a:ea typeface="MS PGothic" charset="0"/>
              <a:cs typeface="Arial"/>
            </a:endParaRPr>
          </a:p>
          <a:p>
            <a:pPr lvl="1" algn="l">
              <a:lnSpc>
                <a:spcPct val="90000"/>
              </a:lnSpc>
            </a:pPr>
            <a:r>
              <a:rPr lang="de-DE" sz="1800" dirty="0">
                <a:solidFill>
                  <a:srgbClr val="7F7F7F"/>
                </a:solidFill>
                <a:latin typeface="Arial" pitchFamily="34" charset="0"/>
              </a:rPr>
              <a:t>•</a:t>
            </a:r>
            <a:r>
              <a:rPr lang="de-DE" sz="1800" dirty="0">
                <a:solidFill>
                  <a:schemeClr val="tx1"/>
                </a:solidFill>
                <a:latin typeface="Arial" pitchFamily="34" charset="0"/>
              </a:rPr>
              <a:t> </a:t>
            </a:r>
            <a:r>
              <a:rPr lang="de-DE" sz="1800" dirty="0">
                <a:solidFill>
                  <a:schemeClr val="tx1"/>
                </a:solidFill>
                <a:latin typeface="Arial"/>
                <a:ea typeface="MS PGothic" charset="0"/>
                <a:cs typeface="Arial"/>
              </a:rPr>
              <a:t>„</a:t>
            </a:r>
            <a:r>
              <a:rPr lang="de-DE" sz="1800" dirty="0" err="1">
                <a:solidFill>
                  <a:schemeClr val="tx1"/>
                </a:solidFill>
                <a:latin typeface="Arial"/>
                <a:ea typeface="MS PGothic" charset="0"/>
                <a:cs typeface="Arial"/>
              </a:rPr>
              <a:t>Copy</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and</a:t>
            </a:r>
            <a:r>
              <a:rPr lang="de-DE" sz="1800" dirty="0">
                <a:solidFill>
                  <a:schemeClr val="tx1"/>
                </a:solidFill>
                <a:latin typeface="Arial"/>
                <a:ea typeface="MS PGothic" charset="0"/>
                <a:cs typeface="Arial"/>
              </a:rPr>
              <a:t> Paste“ </a:t>
            </a:r>
            <a:r>
              <a:rPr lang="de-DE" sz="1800" dirty="0" err="1">
                <a:solidFill>
                  <a:schemeClr val="tx1"/>
                </a:solidFill>
                <a:latin typeface="Arial"/>
                <a:ea typeface="MS PGothic" charset="0"/>
                <a:cs typeface="Arial"/>
              </a:rPr>
              <a:t>of</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parameter</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data</a:t>
            </a:r>
            <a:endParaRPr lang="de-DE" sz="1800" dirty="0">
              <a:solidFill>
                <a:schemeClr val="tx1"/>
              </a:solidFill>
              <a:latin typeface="Arial"/>
              <a:ea typeface="MS PGothic" charset="0"/>
              <a:cs typeface="Arial"/>
            </a:endParaRPr>
          </a:p>
          <a:p>
            <a:pPr lvl="1" algn="l">
              <a:lnSpc>
                <a:spcPct val="90000"/>
              </a:lnSpc>
            </a:pPr>
            <a:r>
              <a:rPr lang="de-DE" sz="1800" dirty="0">
                <a:solidFill>
                  <a:srgbClr val="7F7F7F"/>
                </a:solidFill>
                <a:latin typeface="Arial" pitchFamily="34" charset="0"/>
              </a:rPr>
              <a:t>• </a:t>
            </a:r>
            <a:r>
              <a:rPr lang="de-DE" sz="1800" dirty="0">
                <a:solidFill>
                  <a:schemeClr val="tx1"/>
                </a:solidFill>
                <a:latin typeface="Arial"/>
                <a:ea typeface="MS PGothic" charset="0"/>
                <a:cs typeface="Arial"/>
              </a:rPr>
              <a:t>Remote </a:t>
            </a:r>
            <a:r>
              <a:rPr lang="de-DE" sz="1800" dirty="0" err="1">
                <a:solidFill>
                  <a:schemeClr val="tx1"/>
                </a:solidFill>
                <a:latin typeface="Arial"/>
                <a:ea typeface="MS PGothic" charset="0"/>
                <a:cs typeface="Arial"/>
              </a:rPr>
              <a:t>parametrizing</a:t>
            </a:r>
            <a:endParaRPr lang="de-DE" sz="1800" dirty="0">
              <a:solidFill>
                <a:schemeClr val="tx1"/>
              </a:solidFill>
              <a:latin typeface="Arial"/>
              <a:ea typeface="MS PGothic" charset="0"/>
              <a:cs typeface="Arial"/>
            </a:endParaRPr>
          </a:p>
          <a:p>
            <a:pPr lvl="1" algn="l">
              <a:lnSpc>
                <a:spcPct val="90000"/>
              </a:lnSpc>
            </a:pPr>
            <a:r>
              <a:rPr lang="de-DE" sz="800" dirty="0">
                <a:solidFill>
                  <a:schemeClr val="tx1"/>
                </a:solidFill>
                <a:latin typeface="Arial"/>
                <a:ea typeface="MS PGothic" charset="0"/>
                <a:cs typeface="Arial"/>
              </a:rPr>
              <a:t>  </a:t>
            </a:r>
          </a:p>
          <a:p>
            <a:pPr algn="l">
              <a:lnSpc>
                <a:spcPct val="90000"/>
              </a:lnSpc>
            </a:pPr>
            <a:r>
              <a:rPr lang="de-DE" sz="1800" dirty="0">
                <a:solidFill>
                  <a:srgbClr val="FF9900"/>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Advanced</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diagnostics</a:t>
            </a:r>
            <a:endParaRPr lang="de-DE" sz="1800" dirty="0">
              <a:solidFill>
                <a:schemeClr val="tx1"/>
              </a:solidFill>
              <a:latin typeface="Arial"/>
              <a:ea typeface="MS PGothic" charset="0"/>
              <a:cs typeface="Arial"/>
            </a:endParaRPr>
          </a:p>
          <a:p>
            <a:pPr lvl="1" algn="l">
              <a:lnSpc>
                <a:spcPct val="90000"/>
              </a:lnSpc>
            </a:pPr>
            <a:r>
              <a:rPr lang="de-DE" sz="1800" dirty="0">
                <a:solidFill>
                  <a:srgbClr val="7F7F7F"/>
                </a:solidFill>
                <a:latin typeface="Arial" pitchFamily="34" charset="0"/>
              </a:rPr>
              <a:t>•</a:t>
            </a:r>
            <a:r>
              <a:rPr lang="de-DE" sz="1800" dirty="0">
                <a:solidFill>
                  <a:schemeClr val="tx1"/>
                </a:solidFill>
                <a:latin typeface="Arial" pitchFamily="34" charset="0"/>
              </a:rPr>
              <a:t> </a:t>
            </a:r>
            <a:r>
              <a:rPr lang="de-DE" sz="1800" dirty="0">
                <a:solidFill>
                  <a:schemeClr val="tx1"/>
                </a:solidFill>
                <a:latin typeface="Arial"/>
                <a:ea typeface="MS PGothic" charset="0"/>
                <a:cs typeface="Arial"/>
              </a:rPr>
              <a:t>Information </a:t>
            </a:r>
            <a:r>
              <a:rPr lang="de-DE" sz="1800" dirty="0" err="1">
                <a:solidFill>
                  <a:schemeClr val="tx1"/>
                </a:solidFill>
                <a:latin typeface="Arial"/>
                <a:ea typeface="MS PGothic" charset="0"/>
                <a:cs typeface="Arial"/>
              </a:rPr>
              <a:t>from</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sensor</a:t>
            </a:r>
            <a:r>
              <a:rPr lang="de-DE" sz="1800" dirty="0">
                <a:solidFill>
                  <a:schemeClr val="tx1"/>
                </a:solidFill>
                <a:latin typeface="Arial"/>
                <a:ea typeface="MS PGothic" charset="0"/>
                <a:cs typeface="Arial"/>
              </a:rPr>
              <a:t>/</a:t>
            </a:r>
            <a:r>
              <a:rPr lang="de-DE" sz="1800" dirty="0" err="1">
                <a:solidFill>
                  <a:schemeClr val="tx1"/>
                </a:solidFill>
                <a:latin typeface="Arial"/>
                <a:ea typeface="MS PGothic" charset="0"/>
                <a:cs typeface="Arial"/>
              </a:rPr>
              <a:t>actuator</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level</a:t>
            </a:r>
            <a:endParaRPr lang="de-DE" sz="1800" dirty="0">
              <a:solidFill>
                <a:schemeClr val="tx1"/>
              </a:solidFill>
              <a:latin typeface="Arial"/>
              <a:ea typeface="MS PGothic" charset="0"/>
              <a:cs typeface="Arial"/>
            </a:endParaRPr>
          </a:p>
          <a:p>
            <a:pPr lvl="1" algn="l">
              <a:lnSpc>
                <a:spcPct val="90000"/>
              </a:lnSpc>
            </a:pPr>
            <a:r>
              <a:rPr lang="de-DE" sz="1800" dirty="0">
                <a:solidFill>
                  <a:srgbClr val="7F7F7F"/>
                </a:solidFill>
                <a:latin typeface="Arial" pitchFamily="34" charset="0"/>
              </a:rPr>
              <a:t>• </a:t>
            </a:r>
            <a:r>
              <a:rPr lang="de-DE" sz="1800" dirty="0">
                <a:solidFill>
                  <a:schemeClr val="tx1"/>
                </a:solidFill>
                <a:latin typeface="Arial"/>
                <a:ea typeface="MS PGothic" charset="0"/>
                <a:cs typeface="Arial"/>
              </a:rPr>
              <a:t>Remote </a:t>
            </a:r>
            <a:r>
              <a:rPr lang="de-DE" sz="1800" dirty="0" err="1">
                <a:solidFill>
                  <a:schemeClr val="tx1"/>
                </a:solidFill>
                <a:latin typeface="Arial"/>
                <a:ea typeface="MS PGothic" charset="0"/>
                <a:cs typeface="Arial"/>
              </a:rPr>
              <a:t>diagnostics</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from</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anywhere</a:t>
            </a:r>
            <a:endParaRPr lang="de-DE" sz="1800" dirty="0">
              <a:solidFill>
                <a:schemeClr val="tx1"/>
              </a:solidFill>
              <a:latin typeface="Arial"/>
              <a:ea typeface="MS PGothic" charset="0"/>
              <a:cs typeface="Arial"/>
            </a:endParaRPr>
          </a:p>
          <a:p>
            <a:pPr lvl="1" algn="l">
              <a:lnSpc>
                <a:spcPct val="90000"/>
              </a:lnSpc>
            </a:pPr>
            <a:endParaRPr lang="de-DE" sz="1800" dirty="0">
              <a:solidFill>
                <a:schemeClr val="tx1"/>
              </a:solidFill>
              <a:latin typeface="Arial"/>
              <a:ea typeface="MS PGothic" charset="0"/>
              <a:cs typeface="Arial"/>
            </a:endParaRPr>
          </a:p>
        </p:txBody>
      </p:sp>
      <p:sp>
        <p:nvSpPr>
          <p:cNvPr id="5" name="Foliennummernplatzhalter 4"/>
          <p:cNvSpPr>
            <a:spLocks noGrp="1"/>
          </p:cNvSpPr>
          <p:nvPr>
            <p:ph type="sldNum" sz="quarter" idx="12"/>
          </p:nvPr>
        </p:nvSpPr>
        <p:spPr/>
        <p:txBody>
          <a:bodyPr/>
          <a:lstStyle/>
          <a:p>
            <a:fld id="{09AD34A2-EE0D-B74D-A5FF-4EBBE21DF867}" type="slidenum">
              <a:rPr lang="de-DE" smtClean="0"/>
              <a:t>10</a:t>
            </a:fld>
            <a:endParaRPr lang="de-DE"/>
          </a:p>
        </p:txBody>
      </p:sp>
      <p:sp>
        <p:nvSpPr>
          <p:cNvPr id="6" name="Rechteck 5"/>
          <p:cNvSpPr/>
          <p:nvPr/>
        </p:nvSpPr>
        <p:spPr>
          <a:xfrm>
            <a:off x="2244001" y="5637921"/>
            <a:ext cx="2787943" cy="369332"/>
          </a:xfrm>
          <a:prstGeom prst="rect">
            <a:avLst/>
          </a:prstGeom>
        </p:spPr>
        <p:txBody>
          <a:bodyPr wrap="none">
            <a:spAutoFit/>
          </a:bodyPr>
          <a:lstStyle/>
          <a:p>
            <a:r>
              <a:rPr lang="de-DE" b="1" dirty="0">
                <a:solidFill>
                  <a:srgbClr val="4BD651"/>
                </a:solidFill>
                <a:latin typeface="Arial"/>
                <a:ea typeface="MS PGothic" charset="0"/>
                <a:cs typeface="Arial"/>
                <a:sym typeface="Wingdings" panose="05000000000000000000" pitchFamily="2" charset="2"/>
              </a:rPr>
              <a:t></a:t>
            </a:r>
            <a:r>
              <a:rPr lang="de-DE" b="1" dirty="0">
                <a:latin typeface="Arial"/>
                <a:ea typeface="MS PGothic" charset="0"/>
                <a:cs typeface="Arial"/>
              </a:rPr>
              <a:t>  Solution </a:t>
            </a:r>
            <a:r>
              <a:rPr lang="de-DE" b="1" dirty="0" err="1">
                <a:latin typeface="Arial"/>
                <a:ea typeface="MS PGothic" charset="0"/>
                <a:cs typeface="Arial"/>
              </a:rPr>
              <a:t>with</a:t>
            </a:r>
            <a:r>
              <a:rPr lang="de-DE" b="1" dirty="0">
                <a:latin typeface="Arial"/>
                <a:ea typeface="MS PGothic" charset="0"/>
                <a:cs typeface="Arial"/>
              </a:rPr>
              <a:t> IO-Link</a:t>
            </a:r>
            <a:endParaRPr lang="de-DE" dirty="0"/>
          </a:p>
        </p:txBody>
      </p:sp>
    </p:spTree>
    <p:extLst>
      <p:ext uri="{BB962C8B-B14F-4D97-AF65-F5344CB8AC3E}">
        <p14:creationId xmlns:p14="http://schemas.microsoft.com/office/powerpoint/2010/main" val="7985780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35"/>
          <p:cNvGrpSpPr>
            <a:grpSpLocks/>
          </p:cNvGrpSpPr>
          <p:nvPr/>
        </p:nvGrpSpPr>
        <p:grpSpPr bwMode="auto">
          <a:xfrm>
            <a:off x="8198945" y="4541526"/>
            <a:ext cx="2120900" cy="1760537"/>
            <a:chOff x="4561" y="2861"/>
            <a:chExt cx="1336" cy="1109"/>
          </a:xfrm>
        </p:grpSpPr>
        <p:pic>
          <p:nvPicPr>
            <p:cNvPr id="14" name="Picture 28" descr="Lebenszyklus_2009_04_09"/>
            <p:cNvPicPr>
              <a:picLocks noChangeAspect="1" noChangeArrowheads="1"/>
            </p:cNvPicPr>
            <p:nvPr>
              <p:custDataLst>
                <p:tags r:id="rId2"/>
              </p:custDataLst>
            </p:nvPr>
          </p:nvPicPr>
          <p:blipFill>
            <a:blip r:embed="rId5">
              <a:clrChange>
                <a:clrFrom>
                  <a:srgbClr val="FFFFFF"/>
                </a:clrFrom>
                <a:clrTo>
                  <a:srgbClr val="FFFFFF">
                    <a:alpha val="0"/>
                  </a:srgbClr>
                </a:clrTo>
              </a:clrChange>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604" y="2931"/>
              <a:ext cx="1293" cy="10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Freeform 34"/>
            <p:cNvSpPr>
              <a:spLocks/>
            </p:cNvSpPr>
            <p:nvPr/>
          </p:nvSpPr>
          <p:spPr bwMode="auto">
            <a:xfrm>
              <a:off x="4561" y="2861"/>
              <a:ext cx="1079" cy="1055"/>
            </a:xfrm>
            <a:custGeom>
              <a:avLst/>
              <a:gdLst>
                <a:gd name="T0" fmla="*/ 771 w 1079"/>
                <a:gd name="T1" fmla="*/ 494 h 1055"/>
                <a:gd name="T2" fmla="*/ 755 w 1079"/>
                <a:gd name="T3" fmla="*/ 112 h 1055"/>
                <a:gd name="T4" fmla="*/ 709 w 1079"/>
                <a:gd name="T5" fmla="*/ 81 h 1055"/>
                <a:gd name="T6" fmla="*/ 670 w 1079"/>
                <a:gd name="T7" fmla="*/ 35 h 1055"/>
                <a:gd name="T8" fmla="*/ 623 w 1079"/>
                <a:gd name="T9" fmla="*/ 19 h 1055"/>
                <a:gd name="T10" fmla="*/ 296 w 1079"/>
                <a:gd name="T11" fmla="*/ 50 h 1055"/>
                <a:gd name="T12" fmla="*/ 164 w 1079"/>
                <a:gd name="T13" fmla="*/ 182 h 1055"/>
                <a:gd name="T14" fmla="*/ 94 w 1079"/>
                <a:gd name="T15" fmla="*/ 253 h 1055"/>
                <a:gd name="T16" fmla="*/ 70 w 1079"/>
                <a:gd name="T17" fmla="*/ 276 h 1055"/>
                <a:gd name="T18" fmla="*/ 63 w 1079"/>
                <a:gd name="T19" fmla="*/ 323 h 1055"/>
                <a:gd name="T20" fmla="*/ 31 w 1079"/>
                <a:gd name="T21" fmla="*/ 393 h 1055"/>
                <a:gd name="T22" fmla="*/ 8 w 1079"/>
                <a:gd name="T23" fmla="*/ 463 h 1055"/>
                <a:gd name="T24" fmla="*/ 0 w 1079"/>
                <a:gd name="T25" fmla="*/ 486 h 1055"/>
                <a:gd name="T26" fmla="*/ 8 w 1079"/>
                <a:gd name="T27" fmla="*/ 642 h 1055"/>
                <a:gd name="T28" fmla="*/ 70 w 1079"/>
                <a:gd name="T29" fmla="*/ 758 h 1055"/>
                <a:gd name="T30" fmla="*/ 148 w 1079"/>
                <a:gd name="T31" fmla="*/ 883 h 1055"/>
                <a:gd name="T32" fmla="*/ 203 w 1079"/>
                <a:gd name="T33" fmla="*/ 969 h 1055"/>
                <a:gd name="T34" fmla="*/ 273 w 1079"/>
                <a:gd name="T35" fmla="*/ 976 h 1055"/>
                <a:gd name="T36" fmla="*/ 444 w 1079"/>
                <a:gd name="T37" fmla="*/ 1039 h 1055"/>
                <a:gd name="T38" fmla="*/ 857 w 1079"/>
                <a:gd name="T39" fmla="*/ 1031 h 1055"/>
                <a:gd name="T40" fmla="*/ 1043 w 1079"/>
                <a:gd name="T41" fmla="*/ 976 h 1055"/>
                <a:gd name="T42" fmla="*/ 1012 w 1079"/>
                <a:gd name="T43" fmla="*/ 829 h 1055"/>
                <a:gd name="T44" fmla="*/ 1004 w 1079"/>
                <a:gd name="T45" fmla="*/ 735 h 1055"/>
                <a:gd name="T46" fmla="*/ 981 w 1079"/>
                <a:gd name="T47" fmla="*/ 720 h 1055"/>
                <a:gd name="T48" fmla="*/ 888 w 1079"/>
                <a:gd name="T49" fmla="*/ 665 h 1055"/>
                <a:gd name="T50" fmla="*/ 864 w 1079"/>
                <a:gd name="T51" fmla="*/ 657 h 1055"/>
                <a:gd name="T52" fmla="*/ 841 w 1079"/>
                <a:gd name="T53" fmla="*/ 642 h 1055"/>
                <a:gd name="T54" fmla="*/ 794 w 1079"/>
                <a:gd name="T55" fmla="*/ 626 h 1055"/>
                <a:gd name="T56" fmla="*/ 755 w 1079"/>
                <a:gd name="T57" fmla="*/ 579 h 1055"/>
                <a:gd name="T58" fmla="*/ 771 w 1079"/>
                <a:gd name="T59" fmla="*/ 533 h 1055"/>
                <a:gd name="T60" fmla="*/ 771 w 1079"/>
                <a:gd name="T61" fmla="*/ 494 h 105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79"/>
                <a:gd name="T94" fmla="*/ 0 h 1055"/>
                <a:gd name="T95" fmla="*/ 1079 w 1079"/>
                <a:gd name="T96" fmla="*/ 1055 h 105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79" h="1055">
                  <a:moveTo>
                    <a:pt x="771" y="494"/>
                  </a:moveTo>
                  <a:cubicBezTo>
                    <a:pt x="766" y="367"/>
                    <a:pt x="774" y="238"/>
                    <a:pt x="755" y="112"/>
                  </a:cubicBezTo>
                  <a:cubicBezTo>
                    <a:pt x="752" y="94"/>
                    <a:pt x="722" y="94"/>
                    <a:pt x="709" y="81"/>
                  </a:cubicBezTo>
                  <a:cubicBezTo>
                    <a:pt x="694" y="67"/>
                    <a:pt x="687" y="46"/>
                    <a:pt x="670" y="35"/>
                  </a:cubicBezTo>
                  <a:cubicBezTo>
                    <a:pt x="656" y="26"/>
                    <a:pt x="623" y="19"/>
                    <a:pt x="623" y="19"/>
                  </a:cubicBezTo>
                  <a:cubicBezTo>
                    <a:pt x="518" y="28"/>
                    <a:pt x="389" y="0"/>
                    <a:pt x="296" y="50"/>
                  </a:cubicBezTo>
                  <a:cubicBezTo>
                    <a:pt x="238" y="81"/>
                    <a:pt x="219" y="146"/>
                    <a:pt x="164" y="182"/>
                  </a:cubicBezTo>
                  <a:cubicBezTo>
                    <a:pt x="155" y="210"/>
                    <a:pt x="122" y="243"/>
                    <a:pt x="94" y="253"/>
                  </a:cubicBezTo>
                  <a:cubicBezTo>
                    <a:pt x="86" y="261"/>
                    <a:pt x="74" y="266"/>
                    <a:pt x="70" y="276"/>
                  </a:cubicBezTo>
                  <a:cubicBezTo>
                    <a:pt x="64" y="290"/>
                    <a:pt x="67" y="308"/>
                    <a:pt x="63" y="323"/>
                  </a:cubicBezTo>
                  <a:cubicBezTo>
                    <a:pt x="53" y="365"/>
                    <a:pt x="51" y="363"/>
                    <a:pt x="31" y="393"/>
                  </a:cubicBezTo>
                  <a:cubicBezTo>
                    <a:pt x="20" y="430"/>
                    <a:pt x="26" y="412"/>
                    <a:pt x="8" y="463"/>
                  </a:cubicBezTo>
                  <a:cubicBezTo>
                    <a:pt x="5" y="471"/>
                    <a:pt x="0" y="486"/>
                    <a:pt x="0" y="486"/>
                  </a:cubicBezTo>
                  <a:cubicBezTo>
                    <a:pt x="3" y="538"/>
                    <a:pt x="1" y="590"/>
                    <a:pt x="8" y="642"/>
                  </a:cubicBezTo>
                  <a:cubicBezTo>
                    <a:pt x="13" y="681"/>
                    <a:pt x="58" y="718"/>
                    <a:pt x="70" y="758"/>
                  </a:cubicBezTo>
                  <a:cubicBezTo>
                    <a:pt x="79" y="849"/>
                    <a:pt x="69" y="855"/>
                    <a:pt x="148" y="883"/>
                  </a:cubicBezTo>
                  <a:cubicBezTo>
                    <a:pt x="167" y="910"/>
                    <a:pt x="165" y="960"/>
                    <a:pt x="203" y="969"/>
                  </a:cubicBezTo>
                  <a:cubicBezTo>
                    <a:pt x="226" y="975"/>
                    <a:pt x="250" y="974"/>
                    <a:pt x="273" y="976"/>
                  </a:cubicBezTo>
                  <a:cubicBezTo>
                    <a:pt x="299" y="1053"/>
                    <a:pt x="371" y="1034"/>
                    <a:pt x="444" y="1039"/>
                  </a:cubicBezTo>
                  <a:cubicBezTo>
                    <a:pt x="575" y="1034"/>
                    <a:pt x="724" y="1014"/>
                    <a:pt x="857" y="1031"/>
                  </a:cubicBezTo>
                  <a:cubicBezTo>
                    <a:pt x="1079" y="1020"/>
                    <a:pt x="967" y="1055"/>
                    <a:pt x="1043" y="976"/>
                  </a:cubicBezTo>
                  <a:cubicBezTo>
                    <a:pt x="1038" y="902"/>
                    <a:pt x="1047" y="880"/>
                    <a:pt x="1012" y="829"/>
                  </a:cubicBezTo>
                  <a:cubicBezTo>
                    <a:pt x="1009" y="798"/>
                    <a:pt x="1013" y="765"/>
                    <a:pt x="1004" y="735"/>
                  </a:cubicBezTo>
                  <a:cubicBezTo>
                    <a:pt x="1001" y="726"/>
                    <a:pt x="989" y="725"/>
                    <a:pt x="981" y="720"/>
                  </a:cubicBezTo>
                  <a:cubicBezTo>
                    <a:pt x="950" y="702"/>
                    <a:pt x="921" y="679"/>
                    <a:pt x="888" y="665"/>
                  </a:cubicBezTo>
                  <a:cubicBezTo>
                    <a:pt x="880" y="662"/>
                    <a:pt x="872" y="661"/>
                    <a:pt x="864" y="657"/>
                  </a:cubicBezTo>
                  <a:cubicBezTo>
                    <a:pt x="856" y="653"/>
                    <a:pt x="849" y="646"/>
                    <a:pt x="841" y="642"/>
                  </a:cubicBezTo>
                  <a:cubicBezTo>
                    <a:pt x="826" y="635"/>
                    <a:pt x="794" y="626"/>
                    <a:pt x="794" y="626"/>
                  </a:cubicBezTo>
                  <a:cubicBezTo>
                    <a:pt x="789" y="621"/>
                    <a:pt x="755" y="590"/>
                    <a:pt x="755" y="579"/>
                  </a:cubicBezTo>
                  <a:cubicBezTo>
                    <a:pt x="755" y="563"/>
                    <a:pt x="766" y="548"/>
                    <a:pt x="771" y="533"/>
                  </a:cubicBezTo>
                  <a:cubicBezTo>
                    <a:pt x="775" y="521"/>
                    <a:pt x="771" y="507"/>
                    <a:pt x="771" y="494"/>
                  </a:cubicBezTo>
                  <a:close/>
                </a:path>
              </a:pathLst>
            </a:custGeom>
            <a:solidFill>
              <a:schemeClr val="bg1">
                <a:alpha val="59999"/>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de-DE">
                <a:latin typeface="Arial"/>
                <a:cs typeface="Arial"/>
              </a:endParaRPr>
            </a:p>
          </p:txBody>
        </p:sp>
      </p:grpSp>
      <p:sp>
        <p:nvSpPr>
          <p:cNvPr id="9" name="Textplatzhalter 1"/>
          <p:cNvSpPr txBox="1">
            <a:spLocks/>
          </p:cNvSpPr>
          <p:nvPr/>
        </p:nvSpPr>
        <p:spPr>
          <a:xfrm>
            <a:off x="2244000" y="1080000"/>
            <a:ext cx="5194300" cy="540000"/>
          </a:xfrm>
          <a:prstGeom prst="rect">
            <a:avLst/>
          </a:prstGeom>
        </p:spPr>
        <p:txBody>
          <a:bodyPr vert="horz" lIns="0" tIns="45720" rIns="91440" bIns="45720" rtlCol="0" anchor="ctr"/>
          <a:lstStyle>
            <a:defPPr>
              <a:defRPr lang="de-DE"/>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de-DE" sz="2000" b="1" dirty="0">
                <a:solidFill>
                  <a:srgbClr val="FF9900"/>
                </a:solidFill>
                <a:latin typeface="Arial"/>
                <a:ea typeface="MS PGothic" charset="0"/>
                <a:cs typeface="Arial"/>
              </a:rPr>
              <a:t>Research </a:t>
            </a:r>
            <a:r>
              <a:rPr lang="de-DE" sz="2000" b="1" dirty="0" err="1">
                <a:solidFill>
                  <a:srgbClr val="FF9900"/>
                </a:solidFill>
                <a:latin typeface="Arial"/>
                <a:ea typeface="MS PGothic" charset="0"/>
                <a:cs typeface="Arial"/>
              </a:rPr>
              <a:t>and</a:t>
            </a:r>
            <a:r>
              <a:rPr lang="de-DE" sz="2000" b="1" dirty="0">
                <a:solidFill>
                  <a:srgbClr val="FF9900"/>
                </a:solidFill>
                <a:latin typeface="Arial"/>
                <a:ea typeface="MS PGothic" charset="0"/>
                <a:cs typeface="Arial"/>
              </a:rPr>
              <a:t> Development</a:t>
            </a:r>
            <a:endParaRPr lang="de-DE" sz="2000" b="1" dirty="0">
              <a:solidFill>
                <a:srgbClr val="FF9900"/>
              </a:solidFill>
              <a:latin typeface="Arial"/>
              <a:cs typeface="Arial"/>
            </a:endParaRPr>
          </a:p>
        </p:txBody>
      </p:sp>
      <p:sp>
        <p:nvSpPr>
          <p:cNvPr id="12" name="Rectangle 3"/>
          <p:cNvSpPr txBox="1">
            <a:spLocks noChangeArrowheads="1"/>
          </p:cNvSpPr>
          <p:nvPr>
            <p:custDataLst>
              <p:tags r:id="rId1"/>
            </p:custDataLst>
          </p:nvPr>
        </p:nvSpPr>
        <p:spPr>
          <a:xfrm>
            <a:off x="2244001" y="1817101"/>
            <a:ext cx="5967645" cy="3414503"/>
          </a:xfrm>
          <a:prstGeom prst="rect">
            <a:avLst/>
          </a:prstGeom>
          <a:noFill/>
        </p:spPr>
        <p:txBody>
          <a:bodyPr vert="horz" lIns="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90000"/>
              </a:lnSpc>
            </a:pPr>
            <a:r>
              <a:rPr lang="de-DE" sz="1800" b="1" dirty="0" err="1">
                <a:solidFill>
                  <a:schemeClr val="tx1"/>
                </a:solidFill>
                <a:latin typeface="Arial"/>
                <a:ea typeface="MS PGothic" charset="0"/>
                <a:cs typeface="Arial"/>
              </a:rPr>
              <a:t>Optimized</a:t>
            </a:r>
            <a:r>
              <a:rPr lang="de-DE" sz="1800" b="1" dirty="0">
                <a:solidFill>
                  <a:schemeClr val="tx1"/>
                </a:solidFill>
                <a:latin typeface="Arial"/>
                <a:ea typeface="MS PGothic" charset="0"/>
                <a:cs typeface="Arial"/>
              </a:rPr>
              <a:t> Development</a:t>
            </a:r>
          </a:p>
          <a:p>
            <a:pPr algn="l">
              <a:lnSpc>
                <a:spcPct val="90000"/>
              </a:lnSpc>
            </a:pPr>
            <a:r>
              <a:rPr lang="de-DE" sz="800" b="1" dirty="0">
                <a:solidFill>
                  <a:schemeClr val="tx1"/>
                </a:solidFill>
                <a:latin typeface="Arial"/>
                <a:ea typeface="MS PGothic" charset="0"/>
                <a:cs typeface="Arial"/>
              </a:rPr>
              <a:t>  </a:t>
            </a:r>
          </a:p>
          <a:p>
            <a:pPr algn="l">
              <a:lnSpc>
                <a:spcPct val="90000"/>
              </a:lnSpc>
            </a:pPr>
            <a:r>
              <a:rPr lang="de-DE" sz="1800" dirty="0">
                <a:solidFill>
                  <a:srgbClr val="FF9900"/>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Less</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interfaces</a:t>
            </a:r>
            <a:endParaRPr lang="de-DE" sz="1800" dirty="0">
              <a:solidFill>
                <a:schemeClr val="tx1"/>
              </a:solidFill>
              <a:latin typeface="Arial"/>
              <a:ea typeface="MS PGothic" charset="0"/>
              <a:cs typeface="Arial"/>
            </a:endParaRPr>
          </a:p>
          <a:p>
            <a:pPr lvl="1" algn="l">
              <a:lnSpc>
                <a:spcPct val="90000"/>
              </a:lnSpc>
            </a:pPr>
            <a:r>
              <a:rPr lang="de-DE" sz="1800" dirty="0">
                <a:solidFill>
                  <a:srgbClr val="7F7F7F"/>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On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interfac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for</a:t>
            </a:r>
            <a:r>
              <a:rPr lang="de-DE" sz="1800" dirty="0">
                <a:solidFill>
                  <a:schemeClr val="tx1"/>
                </a:solidFill>
                <a:latin typeface="Arial"/>
                <a:ea typeface="MS PGothic" charset="0"/>
                <a:cs typeface="Arial"/>
              </a:rPr>
              <a:t> all </a:t>
            </a:r>
            <a:r>
              <a:rPr lang="de-DE" sz="1800" dirty="0" err="1">
                <a:solidFill>
                  <a:schemeClr val="tx1"/>
                </a:solidFill>
                <a:latin typeface="Arial"/>
                <a:ea typeface="MS PGothic" charset="0"/>
                <a:cs typeface="Arial"/>
              </a:rPr>
              <a:t>sensor</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data</a:t>
            </a:r>
            <a:endParaRPr lang="de-DE" sz="1800" dirty="0">
              <a:solidFill>
                <a:schemeClr val="tx1"/>
              </a:solidFill>
              <a:latin typeface="Arial"/>
              <a:ea typeface="MS PGothic" charset="0"/>
              <a:cs typeface="Arial"/>
            </a:endParaRPr>
          </a:p>
          <a:p>
            <a:pPr lvl="1" algn="l">
              <a:lnSpc>
                <a:spcPct val="90000"/>
              </a:lnSpc>
            </a:pPr>
            <a:r>
              <a:rPr lang="de-DE" sz="1800" dirty="0">
                <a:solidFill>
                  <a:srgbClr val="7F7F7F"/>
                </a:solidFill>
                <a:latin typeface="Arial" pitchFamily="34" charset="0"/>
              </a:rPr>
              <a:t>• </a:t>
            </a:r>
            <a:r>
              <a:rPr lang="de-DE" sz="1800" dirty="0">
                <a:solidFill>
                  <a:schemeClr val="tx1"/>
                </a:solidFill>
                <a:latin typeface="Arial"/>
                <a:ea typeface="MS PGothic" charset="0"/>
                <a:cs typeface="Arial"/>
              </a:rPr>
              <a:t>Data </a:t>
            </a:r>
            <a:r>
              <a:rPr lang="de-DE" sz="1800" dirty="0" err="1">
                <a:solidFill>
                  <a:schemeClr val="tx1"/>
                </a:solidFill>
                <a:latin typeface="Arial"/>
                <a:ea typeface="MS PGothic" charset="0"/>
                <a:cs typeface="Arial"/>
              </a:rPr>
              <a:t>to</a:t>
            </a:r>
            <a:r>
              <a:rPr lang="de-DE" sz="1800" dirty="0">
                <a:solidFill>
                  <a:schemeClr val="tx1"/>
                </a:solidFill>
                <a:latin typeface="Arial"/>
                <a:ea typeface="MS PGothic" charset="0"/>
                <a:cs typeface="Arial"/>
              </a:rPr>
              <a:t> PLC, HMI, </a:t>
            </a:r>
            <a:r>
              <a:rPr lang="de-DE" sz="1800" dirty="0" err="1">
                <a:solidFill>
                  <a:schemeClr val="tx1"/>
                </a:solidFill>
                <a:latin typeface="Arial"/>
                <a:ea typeface="MS PGothic" charset="0"/>
                <a:cs typeface="Arial"/>
              </a:rPr>
              <a:t>Scada</a:t>
            </a:r>
            <a:r>
              <a:rPr lang="de-DE" sz="1800" dirty="0">
                <a:solidFill>
                  <a:schemeClr val="tx1"/>
                </a:solidFill>
                <a:latin typeface="Arial"/>
                <a:ea typeface="MS PGothic" charset="0"/>
                <a:cs typeface="Arial"/>
              </a:rPr>
              <a:t> &amp; Server</a:t>
            </a:r>
          </a:p>
          <a:p>
            <a:pPr lvl="1" algn="l">
              <a:lnSpc>
                <a:spcPct val="90000"/>
              </a:lnSpc>
            </a:pPr>
            <a:r>
              <a:rPr lang="de-DE" sz="800" dirty="0">
                <a:solidFill>
                  <a:schemeClr val="tx1"/>
                </a:solidFill>
                <a:latin typeface="Arial"/>
                <a:ea typeface="MS PGothic" charset="0"/>
                <a:cs typeface="Arial"/>
              </a:rPr>
              <a:t>  </a:t>
            </a:r>
          </a:p>
          <a:p>
            <a:pPr algn="l">
              <a:lnSpc>
                <a:spcPct val="90000"/>
              </a:lnSpc>
            </a:pPr>
            <a:r>
              <a:rPr lang="de-DE" sz="1800" dirty="0">
                <a:solidFill>
                  <a:srgbClr val="FF9900"/>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Simplified</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integration</a:t>
            </a:r>
            <a:endParaRPr lang="de-DE" sz="1800" dirty="0">
              <a:solidFill>
                <a:schemeClr val="tx1"/>
              </a:solidFill>
              <a:latin typeface="Arial"/>
              <a:ea typeface="MS PGothic" charset="0"/>
              <a:cs typeface="Arial"/>
            </a:endParaRPr>
          </a:p>
          <a:p>
            <a:pPr lvl="1" algn="l">
              <a:lnSpc>
                <a:spcPct val="90000"/>
              </a:lnSpc>
            </a:pPr>
            <a:r>
              <a:rPr lang="de-DE" sz="1800" dirty="0">
                <a:solidFill>
                  <a:srgbClr val="7F7F7F"/>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Consistent</a:t>
            </a:r>
            <a:r>
              <a:rPr lang="de-DE" sz="1800" dirty="0">
                <a:solidFill>
                  <a:schemeClr val="tx1"/>
                </a:solidFill>
                <a:latin typeface="Arial"/>
                <a:ea typeface="MS PGothic" charset="0"/>
                <a:cs typeface="Arial"/>
              </a:rPr>
              <a:t> IO-Link Device Description (IODD)</a:t>
            </a:r>
          </a:p>
          <a:p>
            <a:pPr lvl="1" algn="l">
              <a:lnSpc>
                <a:spcPct val="90000"/>
              </a:lnSpc>
            </a:pPr>
            <a:r>
              <a:rPr lang="de-DE" sz="1800" dirty="0">
                <a:solidFill>
                  <a:srgbClr val="7F7F7F"/>
                </a:solidFill>
                <a:latin typeface="Arial" pitchFamily="34" charset="0"/>
              </a:rPr>
              <a:t>• </a:t>
            </a:r>
            <a:r>
              <a:rPr lang="de-DE" sz="1800" dirty="0" err="1">
                <a:solidFill>
                  <a:schemeClr val="tx1"/>
                </a:solidFill>
                <a:latin typeface="Arial"/>
                <a:ea typeface="MS PGothic" charset="0"/>
                <a:cs typeface="Arial"/>
              </a:rPr>
              <a:t>Standardized</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function</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blocks</a:t>
            </a:r>
            <a:endParaRPr lang="de-DE" sz="1800" dirty="0">
              <a:solidFill>
                <a:schemeClr val="tx1"/>
              </a:solidFill>
              <a:latin typeface="Arial"/>
              <a:ea typeface="MS PGothic" charset="0"/>
              <a:cs typeface="Arial"/>
            </a:endParaRPr>
          </a:p>
          <a:p>
            <a:pPr lvl="1" algn="l">
              <a:lnSpc>
                <a:spcPct val="90000"/>
              </a:lnSpc>
            </a:pPr>
            <a:r>
              <a:rPr lang="de-DE" sz="800" dirty="0">
                <a:solidFill>
                  <a:schemeClr val="tx1"/>
                </a:solidFill>
                <a:latin typeface="Arial"/>
                <a:ea typeface="MS PGothic" charset="0"/>
                <a:cs typeface="Arial"/>
              </a:rPr>
              <a:t>  </a:t>
            </a:r>
          </a:p>
          <a:p>
            <a:pPr algn="l">
              <a:lnSpc>
                <a:spcPct val="90000"/>
              </a:lnSpc>
            </a:pPr>
            <a:r>
              <a:rPr lang="de-DE" sz="1800" dirty="0">
                <a:solidFill>
                  <a:srgbClr val="FF9900"/>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Consistent</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engineering</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tools</a:t>
            </a:r>
            <a:endParaRPr lang="de-DE" sz="1800" dirty="0">
              <a:solidFill>
                <a:schemeClr val="tx1"/>
              </a:solidFill>
              <a:latin typeface="Arial"/>
              <a:ea typeface="MS PGothic" charset="0"/>
              <a:cs typeface="Arial"/>
            </a:endParaRPr>
          </a:p>
          <a:p>
            <a:pPr lvl="1" algn="l">
              <a:lnSpc>
                <a:spcPct val="90000"/>
              </a:lnSpc>
            </a:pPr>
            <a:r>
              <a:rPr lang="de-DE" sz="1800" dirty="0">
                <a:solidFill>
                  <a:srgbClr val="7F7F7F"/>
                </a:solidFill>
                <a:latin typeface="Arial" pitchFamily="34" charset="0"/>
              </a:rPr>
              <a:t>•</a:t>
            </a:r>
            <a:r>
              <a:rPr lang="de-DE" sz="1800" dirty="0">
                <a:solidFill>
                  <a:schemeClr val="tx1"/>
                </a:solidFill>
                <a:latin typeface="Arial" pitchFamily="34" charset="0"/>
              </a:rPr>
              <a:t> </a:t>
            </a:r>
            <a:r>
              <a:rPr lang="de-DE" sz="1800" dirty="0">
                <a:solidFill>
                  <a:schemeClr val="tx1"/>
                </a:solidFill>
                <a:latin typeface="Arial"/>
                <a:ea typeface="MS PGothic" charset="0"/>
                <a:cs typeface="Arial"/>
              </a:rPr>
              <a:t>Integrated </a:t>
            </a:r>
            <a:r>
              <a:rPr lang="de-DE" sz="1800" dirty="0" err="1">
                <a:solidFill>
                  <a:schemeClr val="tx1"/>
                </a:solidFill>
                <a:latin typeface="Arial"/>
                <a:ea typeface="MS PGothic" charset="0"/>
                <a:cs typeface="Arial"/>
              </a:rPr>
              <a:t>development</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processes</a:t>
            </a:r>
            <a:endParaRPr lang="de-DE" sz="1800" dirty="0">
              <a:solidFill>
                <a:schemeClr val="tx1"/>
              </a:solidFill>
              <a:latin typeface="Arial"/>
              <a:ea typeface="MS PGothic" charset="0"/>
              <a:cs typeface="Arial"/>
            </a:endParaRPr>
          </a:p>
          <a:p>
            <a:pPr lvl="1" algn="l">
              <a:lnSpc>
                <a:spcPct val="90000"/>
              </a:lnSpc>
            </a:pPr>
            <a:r>
              <a:rPr lang="de-DE" sz="1800" dirty="0">
                <a:solidFill>
                  <a:srgbClr val="7F7F7F"/>
                </a:solidFill>
                <a:latin typeface="Arial" pitchFamily="34" charset="0"/>
              </a:rPr>
              <a:t>• </a:t>
            </a:r>
            <a:r>
              <a:rPr lang="de-DE" sz="1800" dirty="0" err="1">
                <a:solidFill>
                  <a:schemeClr val="tx1"/>
                </a:solidFill>
                <a:latin typeface="Arial"/>
                <a:ea typeface="MS PGothic" charset="0"/>
                <a:cs typeface="Arial"/>
              </a:rPr>
              <a:t>On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tool</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for</a:t>
            </a:r>
            <a:r>
              <a:rPr lang="de-DE" sz="1800" dirty="0">
                <a:solidFill>
                  <a:schemeClr val="tx1"/>
                </a:solidFill>
                <a:latin typeface="Arial"/>
                <a:ea typeface="MS PGothic" charset="0"/>
                <a:cs typeface="Arial"/>
              </a:rPr>
              <a:t> all </a:t>
            </a:r>
            <a:r>
              <a:rPr lang="de-DE" sz="1800" dirty="0" err="1">
                <a:solidFill>
                  <a:schemeClr val="tx1"/>
                </a:solidFill>
                <a:latin typeface="Arial"/>
                <a:ea typeface="MS PGothic" charset="0"/>
                <a:cs typeface="Arial"/>
              </a:rPr>
              <a:t>devices</a:t>
            </a:r>
            <a:endParaRPr lang="de-DE" sz="1800" dirty="0">
              <a:solidFill>
                <a:schemeClr val="tx1"/>
              </a:solidFill>
              <a:latin typeface="Arial"/>
              <a:ea typeface="MS PGothic" charset="0"/>
              <a:cs typeface="Arial"/>
            </a:endParaRPr>
          </a:p>
        </p:txBody>
      </p:sp>
      <p:sp>
        <p:nvSpPr>
          <p:cNvPr id="4" name="Foliennummernplatzhalter 3"/>
          <p:cNvSpPr>
            <a:spLocks noGrp="1"/>
          </p:cNvSpPr>
          <p:nvPr>
            <p:ph type="sldNum" sz="quarter" idx="12"/>
          </p:nvPr>
        </p:nvSpPr>
        <p:spPr/>
        <p:txBody>
          <a:bodyPr/>
          <a:lstStyle/>
          <a:p>
            <a:fld id="{09AD34A2-EE0D-B74D-A5FF-4EBBE21DF867}" type="slidenum">
              <a:rPr lang="de-DE" smtClean="0"/>
              <a:t>11</a:t>
            </a:fld>
            <a:endParaRPr lang="de-DE"/>
          </a:p>
        </p:txBody>
      </p:sp>
      <p:sp>
        <p:nvSpPr>
          <p:cNvPr id="10" name="Rechteck 9"/>
          <p:cNvSpPr/>
          <p:nvPr/>
        </p:nvSpPr>
        <p:spPr>
          <a:xfrm>
            <a:off x="2244001" y="5637921"/>
            <a:ext cx="2787943" cy="369332"/>
          </a:xfrm>
          <a:prstGeom prst="rect">
            <a:avLst/>
          </a:prstGeom>
        </p:spPr>
        <p:txBody>
          <a:bodyPr wrap="none">
            <a:spAutoFit/>
          </a:bodyPr>
          <a:lstStyle/>
          <a:p>
            <a:r>
              <a:rPr lang="de-DE" b="1" dirty="0">
                <a:solidFill>
                  <a:srgbClr val="4BD651"/>
                </a:solidFill>
                <a:latin typeface="Arial"/>
                <a:ea typeface="MS PGothic" charset="0"/>
                <a:cs typeface="Arial"/>
                <a:sym typeface="Wingdings" panose="05000000000000000000" pitchFamily="2" charset="2"/>
              </a:rPr>
              <a:t></a:t>
            </a:r>
            <a:r>
              <a:rPr lang="de-DE" b="1" dirty="0">
                <a:latin typeface="Arial"/>
                <a:ea typeface="MS PGothic" charset="0"/>
                <a:cs typeface="Arial"/>
              </a:rPr>
              <a:t>  Solution </a:t>
            </a:r>
            <a:r>
              <a:rPr lang="de-DE" b="1" dirty="0" err="1">
                <a:latin typeface="Arial"/>
                <a:ea typeface="MS PGothic" charset="0"/>
                <a:cs typeface="Arial"/>
              </a:rPr>
              <a:t>with</a:t>
            </a:r>
            <a:r>
              <a:rPr lang="de-DE" b="1" dirty="0">
                <a:latin typeface="Arial"/>
                <a:ea typeface="MS PGothic" charset="0"/>
                <a:cs typeface="Arial"/>
              </a:rPr>
              <a:t> IO-Link</a:t>
            </a:r>
            <a:endParaRPr lang="de-DE" dirty="0"/>
          </a:p>
        </p:txBody>
      </p:sp>
    </p:spTree>
    <p:extLst>
      <p:ext uri="{BB962C8B-B14F-4D97-AF65-F5344CB8AC3E}">
        <p14:creationId xmlns:p14="http://schemas.microsoft.com/office/powerpoint/2010/main" val="38045511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ung 2"/>
          <p:cNvGrpSpPr/>
          <p:nvPr/>
        </p:nvGrpSpPr>
        <p:grpSpPr>
          <a:xfrm>
            <a:off x="8192188" y="4431986"/>
            <a:ext cx="2127250" cy="1870076"/>
            <a:chOff x="7234239" y="4927600"/>
            <a:chExt cx="2127250" cy="1870076"/>
          </a:xfrm>
        </p:grpSpPr>
        <p:pic>
          <p:nvPicPr>
            <p:cNvPr id="18" name="Picture 27" descr="Lebenszyklus_2009_04_09"/>
            <p:cNvPicPr>
              <a:picLocks noChangeAspect="1" noChangeArrowheads="1"/>
            </p:cNvPicPr>
            <p:nvPr>
              <p:custDataLst>
                <p:tags r:id="rId2"/>
              </p:custDataLst>
            </p:nvPr>
          </p:nvPicPr>
          <p:blipFill>
            <a:blip r:embed="rId5">
              <a:clrChange>
                <a:clrFrom>
                  <a:srgbClr val="FFFFFF"/>
                </a:clrFrom>
                <a:clrTo>
                  <a:srgbClr val="FFFFFF">
                    <a:alpha val="0"/>
                  </a:srgbClr>
                </a:clrTo>
              </a:clrChange>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308851" y="5148263"/>
              <a:ext cx="2052638" cy="1649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 name="Freeform 30"/>
            <p:cNvSpPr>
              <a:spLocks/>
            </p:cNvSpPr>
            <p:nvPr/>
          </p:nvSpPr>
          <p:spPr bwMode="auto">
            <a:xfrm>
              <a:off x="7234239" y="4927600"/>
              <a:ext cx="1909762" cy="1758950"/>
            </a:xfrm>
            <a:custGeom>
              <a:avLst/>
              <a:gdLst>
                <a:gd name="T0" fmla="*/ 767 w 1234"/>
                <a:gd name="T1" fmla="*/ 742 h 1108"/>
                <a:gd name="T2" fmla="*/ 705 w 1234"/>
                <a:gd name="T3" fmla="*/ 773 h 1108"/>
                <a:gd name="T4" fmla="*/ 658 w 1234"/>
                <a:gd name="T5" fmla="*/ 804 h 1108"/>
                <a:gd name="T6" fmla="*/ 627 w 1234"/>
                <a:gd name="T7" fmla="*/ 843 h 1108"/>
                <a:gd name="T8" fmla="*/ 580 w 1234"/>
                <a:gd name="T9" fmla="*/ 913 h 1108"/>
                <a:gd name="T10" fmla="*/ 557 w 1234"/>
                <a:gd name="T11" fmla="*/ 999 h 1108"/>
                <a:gd name="T12" fmla="*/ 502 w 1234"/>
                <a:gd name="T13" fmla="*/ 1108 h 1108"/>
                <a:gd name="T14" fmla="*/ 456 w 1234"/>
                <a:gd name="T15" fmla="*/ 1100 h 1108"/>
                <a:gd name="T16" fmla="*/ 386 w 1234"/>
                <a:gd name="T17" fmla="*/ 1061 h 1108"/>
                <a:gd name="T18" fmla="*/ 285 w 1234"/>
                <a:gd name="T19" fmla="*/ 1053 h 1108"/>
                <a:gd name="T20" fmla="*/ 214 w 1234"/>
                <a:gd name="T21" fmla="*/ 1014 h 1108"/>
                <a:gd name="T22" fmla="*/ 168 w 1234"/>
                <a:gd name="T23" fmla="*/ 936 h 1108"/>
                <a:gd name="T24" fmla="*/ 20 w 1234"/>
                <a:gd name="T25" fmla="*/ 789 h 1108"/>
                <a:gd name="T26" fmla="*/ 4 w 1234"/>
                <a:gd name="T27" fmla="*/ 765 h 1108"/>
                <a:gd name="T28" fmla="*/ 51 w 1234"/>
                <a:gd name="T29" fmla="*/ 571 h 1108"/>
                <a:gd name="T30" fmla="*/ 98 w 1234"/>
                <a:gd name="T31" fmla="*/ 446 h 1108"/>
                <a:gd name="T32" fmla="*/ 199 w 1234"/>
                <a:gd name="T33" fmla="*/ 314 h 1108"/>
                <a:gd name="T34" fmla="*/ 292 w 1234"/>
                <a:gd name="T35" fmla="*/ 189 h 1108"/>
                <a:gd name="T36" fmla="*/ 487 w 1234"/>
                <a:gd name="T37" fmla="*/ 72 h 1108"/>
                <a:gd name="T38" fmla="*/ 635 w 1234"/>
                <a:gd name="T39" fmla="*/ 2 h 1108"/>
                <a:gd name="T40" fmla="*/ 822 w 1234"/>
                <a:gd name="T41" fmla="*/ 10 h 1108"/>
                <a:gd name="T42" fmla="*/ 868 w 1234"/>
                <a:gd name="T43" fmla="*/ 80 h 1108"/>
                <a:gd name="T44" fmla="*/ 977 w 1234"/>
                <a:gd name="T45" fmla="*/ 104 h 1108"/>
                <a:gd name="T46" fmla="*/ 1110 w 1234"/>
                <a:gd name="T47" fmla="*/ 197 h 1108"/>
                <a:gd name="T48" fmla="*/ 1141 w 1234"/>
                <a:gd name="T49" fmla="*/ 283 h 1108"/>
                <a:gd name="T50" fmla="*/ 1203 w 1234"/>
                <a:gd name="T51" fmla="*/ 337 h 1108"/>
                <a:gd name="T52" fmla="*/ 1234 w 1234"/>
                <a:gd name="T53" fmla="*/ 384 h 1108"/>
                <a:gd name="T54" fmla="*/ 1219 w 1234"/>
                <a:gd name="T55" fmla="*/ 462 h 1108"/>
                <a:gd name="T56" fmla="*/ 1141 w 1234"/>
                <a:gd name="T57" fmla="*/ 695 h 1108"/>
                <a:gd name="T58" fmla="*/ 1055 w 1234"/>
                <a:gd name="T59" fmla="*/ 703 h 1108"/>
                <a:gd name="T60" fmla="*/ 1016 w 1234"/>
                <a:gd name="T61" fmla="*/ 711 h 1108"/>
                <a:gd name="T62" fmla="*/ 923 w 1234"/>
                <a:gd name="T63" fmla="*/ 718 h 1108"/>
                <a:gd name="T64" fmla="*/ 892 w 1234"/>
                <a:gd name="T65" fmla="*/ 734 h 1108"/>
                <a:gd name="T66" fmla="*/ 767 w 1234"/>
                <a:gd name="T67" fmla="*/ 742 h 110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34"/>
                <a:gd name="T103" fmla="*/ 0 h 1108"/>
                <a:gd name="T104" fmla="*/ 1234 w 1234"/>
                <a:gd name="T105" fmla="*/ 1108 h 110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34" h="1108">
                  <a:moveTo>
                    <a:pt x="767" y="742"/>
                  </a:moveTo>
                  <a:cubicBezTo>
                    <a:pt x="672" y="758"/>
                    <a:pt x="751" y="733"/>
                    <a:pt x="705" y="773"/>
                  </a:cubicBezTo>
                  <a:cubicBezTo>
                    <a:pt x="691" y="785"/>
                    <a:pt x="658" y="804"/>
                    <a:pt x="658" y="804"/>
                  </a:cubicBezTo>
                  <a:cubicBezTo>
                    <a:pt x="643" y="848"/>
                    <a:pt x="661" y="809"/>
                    <a:pt x="627" y="843"/>
                  </a:cubicBezTo>
                  <a:cubicBezTo>
                    <a:pt x="608" y="862"/>
                    <a:pt x="595" y="891"/>
                    <a:pt x="580" y="913"/>
                  </a:cubicBezTo>
                  <a:cubicBezTo>
                    <a:pt x="571" y="942"/>
                    <a:pt x="566" y="971"/>
                    <a:pt x="557" y="999"/>
                  </a:cubicBezTo>
                  <a:cubicBezTo>
                    <a:pt x="550" y="1046"/>
                    <a:pt x="552" y="1091"/>
                    <a:pt x="502" y="1108"/>
                  </a:cubicBezTo>
                  <a:cubicBezTo>
                    <a:pt x="487" y="1105"/>
                    <a:pt x="470" y="1106"/>
                    <a:pt x="456" y="1100"/>
                  </a:cubicBezTo>
                  <a:cubicBezTo>
                    <a:pt x="429" y="1089"/>
                    <a:pt x="415" y="1065"/>
                    <a:pt x="386" y="1061"/>
                  </a:cubicBezTo>
                  <a:cubicBezTo>
                    <a:pt x="353" y="1057"/>
                    <a:pt x="319" y="1056"/>
                    <a:pt x="285" y="1053"/>
                  </a:cubicBezTo>
                  <a:cubicBezTo>
                    <a:pt x="227" y="1035"/>
                    <a:pt x="250" y="1050"/>
                    <a:pt x="214" y="1014"/>
                  </a:cubicBezTo>
                  <a:cubicBezTo>
                    <a:pt x="229" y="957"/>
                    <a:pt x="204" y="969"/>
                    <a:pt x="168" y="936"/>
                  </a:cubicBezTo>
                  <a:cubicBezTo>
                    <a:pt x="115" y="888"/>
                    <a:pt x="77" y="831"/>
                    <a:pt x="20" y="789"/>
                  </a:cubicBezTo>
                  <a:cubicBezTo>
                    <a:pt x="15" y="781"/>
                    <a:pt x="5" y="775"/>
                    <a:pt x="4" y="765"/>
                  </a:cubicBezTo>
                  <a:cubicBezTo>
                    <a:pt x="0" y="716"/>
                    <a:pt x="23" y="612"/>
                    <a:pt x="51" y="571"/>
                  </a:cubicBezTo>
                  <a:cubicBezTo>
                    <a:pt x="67" y="522"/>
                    <a:pt x="59" y="483"/>
                    <a:pt x="98" y="446"/>
                  </a:cubicBezTo>
                  <a:cubicBezTo>
                    <a:pt x="123" y="382"/>
                    <a:pt x="138" y="350"/>
                    <a:pt x="199" y="314"/>
                  </a:cubicBezTo>
                  <a:cubicBezTo>
                    <a:pt x="211" y="254"/>
                    <a:pt x="242" y="225"/>
                    <a:pt x="292" y="189"/>
                  </a:cubicBezTo>
                  <a:cubicBezTo>
                    <a:pt x="357" y="142"/>
                    <a:pt x="408" y="92"/>
                    <a:pt x="487" y="72"/>
                  </a:cubicBezTo>
                  <a:cubicBezTo>
                    <a:pt x="531" y="43"/>
                    <a:pt x="584" y="15"/>
                    <a:pt x="635" y="2"/>
                  </a:cubicBezTo>
                  <a:cubicBezTo>
                    <a:pt x="697" y="5"/>
                    <a:pt x="760" y="0"/>
                    <a:pt x="822" y="10"/>
                  </a:cubicBezTo>
                  <a:cubicBezTo>
                    <a:pt x="850" y="14"/>
                    <a:pt x="845" y="65"/>
                    <a:pt x="868" y="80"/>
                  </a:cubicBezTo>
                  <a:cubicBezTo>
                    <a:pt x="916" y="112"/>
                    <a:pt x="882" y="95"/>
                    <a:pt x="977" y="104"/>
                  </a:cubicBezTo>
                  <a:cubicBezTo>
                    <a:pt x="1025" y="133"/>
                    <a:pt x="1070" y="159"/>
                    <a:pt x="1110" y="197"/>
                  </a:cubicBezTo>
                  <a:cubicBezTo>
                    <a:pt x="1114" y="213"/>
                    <a:pt x="1133" y="270"/>
                    <a:pt x="1141" y="283"/>
                  </a:cubicBezTo>
                  <a:cubicBezTo>
                    <a:pt x="1149" y="297"/>
                    <a:pt x="1196" y="330"/>
                    <a:pt x="1203" y="337"/>
                  </a:cubicBezTo>
                  <a:cubicBezTo>
                    <a:pt x="1209" y="343"/>
                    <a:pt x="1230" y="378"/>
                    <a:pt x="1234" y="384"/>
                  </a:cubicBezTo>
                  <a:cubicBezTo>
                    <a:pt x="1230" y="410"/>
                    <a:pt x="1221" y="436"/>
                    <a:pt x="1219" y="462"/>
                  </a:cubicBezTo>
                  <a:cubicBezTo>
                    <a:pt x="1215" y="504"/>
                    <a:pt x="1233" y="676"/>
                    <a:pt x="1141" y="695"/>
                  </a:cubicBezTo>
                  <a:cubicBezTo>
                    <a:pt x="1113" y="701"/>
                    <a:pt x="1084" y="700"/>
                    <a:pt x="1055" y="703"/>
                  </a:cubicBezTo>
                  <a:cubicBezTo>
                    <a:pt x="1042" y="706"/>
                    <a:pt x="1029" y="710"/>
                    <a:pt x="1016" y="711"/>
                  </a:cubicBezTo>
                  <a:cubicBezTo>
                    <a:pt x="985" y="715"/>
                    <a:pt x="954" y="712"/>
                    <a:pt x="923" y="718"/>
                  </a:cubicBezTo>
                  <a:cubicBezTo>
                    <a:pt x="912" y="720"/>
                    <a:pt x="903" y="730"/>
                    <a:pt x="892" y="734"/>
                  </a:cubicBezTo>
                  <a:cubicBezTo>
                    <a:pt x="830" y="759"/>
                    <a:pt x="846" y="750"/>
                    <a:pt x="767" y="742"/>
                  </a:cubicBezTo>
                  <a:close/>
                </a:path>
              </a:pathLst>
            </a:custGeom>
            <a:solidFill>
              <a:schemeClr val="bg1">
                <a:alpha val="59999"/>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de-DE">
                <a:latin typeface="Arial"/>
                <a:cs typeface="Arial"/>
              </a:endParaRPr>
            </a:p>
          </p:txBody>
        </p:sp>
      </p:grpSp>
      <p:sp>
        <p:nvSpPr>
          <p:cNvPr id="9" name="Textplatzhalter 1"/>
          <p:cNvSpPr txBox="1">
            <a:spLocks/>
          </p:cNvSpPr>
          <p:nvPr/>
        </p:nvSpPr>
        <p:spPr>
          <a:xfrm>
            <a:off x="2244000" y="1080000"/>
            <a:ext cx="5708650" cy="540000"/>
          </a:xfrm>
          <a:prstGeom prst="rect">
            <a:avLst/>
          </a:prstGeom>
        </p:spPr>
        <p:txBody>
          <a:bodyPr vert="horz" lIns="0" tIns="45720" rIns="91440" bIns="45720" rtlCol="0" anchor="ctr"/>
          <a:lstStyle>
            <a:defPPr>
              <a:defRPr lang="de-DE"/>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de-DE" sz="2000" b="1" dirty="0">
                <a:solidFill>
                  <a:srgbClr val="FF9900"/>
                </a:solidFill>
                <a:latin typeface="Arial"/>
                <a:ea typeface="MS PGothic" charset="0"/>
                <a:cs typeface="Arial"/>
              </a:rPr>
              <a:t>Installation </a:t>
            </a:r>
            <a:r>
              <a:rPr lang="de-DE" sz="2000" b="1" dirty="0" err="1">
                <a:solidFill>
                  <a:srgbClr val="FF9900"/>
                </a:solidFill>
                <a:latin typeface="Arial"/>
                <a:ea typeface="MS PGothic" charset="0"/>
                <a:cs typeface="Arial"/>
              </a:rPr>
              <a:t>and</a:t>
            </a:r>
            <a:r>
              <a:rPr lang="de-DE" sz="2000" b="1" dirty="0">
                <a:solidFill>
                  <a:srgbClr val="FF9900"/>
                </a:solidFill>
                <a:latin typeface="Arial"/>
                <a:ea typeface="MS PGothic" charset="0"/>
                <a:cs typeface="Arial"/>
              </a:rPr>
              <a:t> Startup</a:t>
            </a:r>
            <a:endParaRPr lang="de-DE" sz="2000" b="1" dirty="0">
              <a:solidFill>
                <a:srgbClr val="FF9900"/>
              </a:solidFill>
              <a:latin typeface="Arial"/>
              <a:cs typeface="Arial"/>
            </a:endParaRPr>
          </a:p>
        </p:txBody>
      </p:sp>
      <p:sp>
        <p:nvSpPr>
          <p:cNvPr id="16" name="Rectangle 3"/>
          <p:cNvSpPr txBox="1">
            <a:spLocks noChangeArrowheads="1"/>
          </p:cNvSpPr>
          <p:nvPr>
            <p:custDataLst>
              <p:tags r:id="rId1"/>
            </p:custDataLst>
          </p:nvPr>
        </p:nvSpPr>
        <p:spPr>
          <a:xfrm>
            <a:off x="2244000" y="1712326"/>
            <a:ext cx="5833200" cy="3755025"/>
          </a:xfrm>
          <a:prstGeom prst="rect">
            <a:avLst/>
          </a:prstGeom>
          <a:noFill/>
        </p:spPr>
        <p:txBody>
          <a:bodyPr vert="horz" lIns="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90000"/>
              </a:lnSpc>
            </a:pPr>
            <a:r>
              <a:rPr lang="de-DE" sz="1800" b="1" dirty="0" err="1">
                <a:solidFill>
                  <a:schemeClr val="tx1"/>
                </a:solidFill>
                <a:latin typeface="Arial"/>
                <a:ea typeface="MS PGothic" charset="0"/>
                <a:cs typeface="Arial"/>
              </a:rPr>
              <a:t>Efficient</a:t>
            </a:r>
            <a:r>
              <a:rPr lang="de-DE" sz="1800" b="1" dirty="0">
                <a:solidFill>
                  <a:schemeClr val="tx1"/>
                </a:solidFill>
                <a:latin typeface="Arial"/>
                <a:ea typeface="MS PGothic" charset="0"/>
                <a:cs typeface="Arial"/>
              </a:rPr>
              <a:t> Installation</a:t>
            </a:r>
          </a:p>
          <a:p>
            <a:pPr algn="l">
              <a:lnSpc>
                <a:spcPct val="90000"/>
              </a:lnSpc>
            </a:pPr>
            <a:r>
              <a:rPr lang="de-DE" sz="800" b="1" dirty="0">
                <a:solidFill>
                  <a:schemeClr val="tx1"/>
                </a:solidFill>
                <a:latin typeface="Arial"/>
                <a:ea typeface="MS PGothic" charset="0"/>
                <a:cs typeface="Arial"/>
              </a:rPr>
              <a:t>  </a:t>
            </a:r>
          </a:p>
          <a:p>
            <a:pPr algn="l"/>
            <a:r>
              <a:rPr lang="de-DE" sz="1800" dirty="0">
                <a:solidFill>
                  <a:srgbClr val="FF9900"/>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Reduc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assembly</a:t>
            </a:r>
            <a:r>
              <a:rPr lang="de-DE" sz="1800" dirty="0">
                <a:solidFill>
                  <a:schemeClr val="tx1"/>
                </a:solidFill>
                <a:latin typeface="Arial"/>
                <a:ea typeface="MS PGothic" charset="0"/>
                <a:cs typeface="Arial"/>
              </a:rPr>
              <a:t> time </a:t>
            </a:r>
          </a:p>
          <a:p>
            <a:pPr lvl="1" algn="l"/>
            <a:r>
              <a:rPr lang="de-DE" sz="1800" dirty="0">
                <a:solidFill>
                  <a:srgbClr val="7F7F7F"/>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Optimized</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mechanical</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assembly</a:t>
            </a:r>
            <a:endParaRPr lang="de-DE" sz="1800" dirty="0">
              <a:solidFill>
                <a:schemeClr val="tx1"/>
              </a:solidFill>
              <a:latin typeface="Arial"/>
              <a:ea typeface="MS PGothic" charset="0"/>
              <a:cs typeface="Arial"/>
            </a:endParaRPr>
          </a:p>
          <a:p>
            <a:pPr lvl="1" algn="l"/>
            <a:r>
              <a:rPr lang="de-DE" sz="1800" dirty="0">
                <a:solidFill>
                  <a:srgbClr val="7F7F7F"/>
                </a:solidFill>
                <a:latin typeface="Arial" pitchFamily="34" charset="0"/>
              </a:rPr>
              <a:t>• </a:t>
            </a:r>
            <a:r>
              <a:rPr lang="de-DE" sz="1800" dirty="0">
                <a:solidFill>
                  <a:schemeClr val="tx1"/>
                </a:solidFill>
                <a:latin typeface="Arial"/>
                <a:ea typeface="MS PGothic" charset="0"/>
                <a:cs typeface="Arial"/>
              </a:rPr>
              <a:t>Standard </a:t>
            </a:r>
            <a:r>
              <a:rPr lang="de-DE" sz="1800" dirty="0" err="1">
                <a:solidFill>
                  <a:schemeClr val="tx1"/>
                </a:solidFill>
                <a:latin typeface="Arial"/>
                <a:ea typeface="MS PGothic" charset="0"/>
                <a:cs typeface="Arial"/>
              </a:rPr>
              <a:t>wiring</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instead</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of</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communication</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cables</a:t>
            </a:r>
            <a:endParaRPr lang="de-DE" sz="1800" dirty="0">
              <a:solidFill>
                <a:schemeClr val="tx1"/>
              </a:solidFill>
              <a:latin typeface="Arial"/>
              <a:ea typeface="MS PGothic" charset="0"/>
              <a:cs typeface="Arial"/>
            </a:endParaRPr>
          </a:p>
          <a:p>
            <a:pPr lvl="1" algn="l"/>
            <a:r>
              <a:rPr lang="de-DE" sz="800" dirty="0">
                <a:solidFill>
                  <a:schemeClr val="tx1"/>
                </a:solidFill>
                <a:latin typeface="Arial"/>
                <a:ea typeface="MS PGothic" charset="0"/>
                <a:cs typeface="Arial"/>
              </a:rPr>
              <a:t>  </a:t>
            </a:r>
          </a:p>
          <a:p>
            <a:pPr algn="l"/>
            <a:r>
              <a:rPr lang="de-DE" sz="1800" dirty="0">
                <a:solidFill>
                  <a:srgbClr val="FF9900"/>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Simplified</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wiring</a:t>
            </a:r>
            <a:r>
              <a:rPr lang="de-DE" sz="1800" dirty="0">
                <a:solidFill>
                  <a:schemeClr val="tx1"/>
                </a:solidFill>
                <a:latin typeface="Arial"/>
                <a:ea typeface="MS PGothic" charset="0"/>
                <a:cs typeface="Arial"/>
              </a:rPr>
              <a:t> </a:t>
            </a:r>
          </a:p>
          <a:p>
            <a:pPr lvl="1" algn="l"/>
            <a:r>
              <a:rPr lang="de-DE" sz="1800" dirty="0">
                <a:solidFill>
                  <a:srgbClr val="7F7F7F"/>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Us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of</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unshielded</a:t>
            </a:r>
            <a:r>
              <a:rPr lang="de-DE" sz="1800" dirty="0">
                <a:solidFill>
                  <a:schemeClr val="tx1"/>
                </a:solidFill>
                <a:latin typeface="Arial"/>
                <a:ea typeface="MS PGothic" charset="0"/>
                <a:cs typeface="Arial"/>
              </a:rPr>
              <a:t> M12 </a:t>
            </a:r>
            <a:r>
              <a:rPr lang="de-DE" sz="1800" dirty="0" err="1">
                <a:solidFill>
                  <a:schemeClr val="tx1"/>
                </a:solidFill>
                <a:latin typeface="Arial"/>
                <a:ea typeface="MS PGothic" charset="0"/>
                <a:cs typeface="Arial"/>
              </a:rPr>
              <a:t>standard</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jumper</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cables</a:t>
            </a:r>
            <a:endParaRPr lang="de-DE" sz="1800" dirty="0">
              <a:solidFill>
                <a:schemeClr val="tx1"/>
              </a:solidFill>
              <a:latin typeface="Arial"/>
              <a:ea typeface="MS PGothic" charset="0"/>
              <a:cs typeface="Arial"/>
            </a:endParaRPr>
          </a:p>
          <a:p>
            <a:pPr lvl="1" algn="l"/>
            <a:r>
              <a:rPr lang="de-DE" sz="1800" dirty="0">
                <a:solidFill>
                  <a:srgbClr val="7F7F7F"/>
                </a:solidFill>
                <a:latin typeface="Arial" pitchFamily="34" charset="0"/>
              </a:rPr>
              <a:t>• </a:t>
            </a:r>
            <a:r>
              <a:rPr lang="de-DE" sz="1800" dirty="0">
                <a:solidFill>
                  <a:schemeClr val="tx1"/>
                </a:solidFill>
                <a:latin typeface="Arial"/>
                <a:ea typeface="MS PGothic" charset="0"/>
                <a:cs typeface="Arial"/>
              </a:rPr>
              <a:t>3 </a:t>
            </a:r>
            <a:r>
              <a:rPr lang="de-DE" sz="1800" dirty="0" err="1">
                <a:solidFill>
                  <a:schemeClr val="tx1"/>
                </a:solidFill>
                <a:latin typeface="Arial"/>
                <a:ea typeface="MS PGothic" charset="0"/>
                <a:cs typeface="Arial"/>
              </a:rPr>
              <a:t>instead</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of</a:t>
            </a:r>
            <a:r>
              <a:rPr lang="de-DE" sz="1800" dirty="0">
                <a:solidFill>
                  <a:schemeClr val="tx1"/>
                </a:solidFill>
                <a:latin typeface="Arial"/>
                <a:ea typeface="MS PGothic" charset="0"/>
                <a:cs typeface="Arial"/>
              </a:rPr>
              <a:t> 19 </a:t>
            </a:r>
            <a:r>
              <a:rPr lang="de-DE" sz="1800" dirty="0" err="1">
                <a:solidFill>
                  <a:schemeClr val="tx1"/>
                </a:solidFill>
                <a:latin typeface="Arial"/>
                <a:ea typeface="MS PGothic" charset="0"/>
                <a:cs typeface="Arial"/>
              </a:rPr>
              <a:t>core</a:t>
            </a:r>
            <a:r>
              <a:rPr lang="de-DE" sz="1800" dirty="0">
                <a:solidFill>
                  <a:schemeClr val="tx1"/>
                </a:solidFill>
                <a:latin typeface="Arial"/>
                <a:ea typeface="MS PGothic" charset="0"/>
                <a:cs typeface="Arial"/>
              </a:rPr>
              <a:t>-installation</a:t>
            </a:r>
          </a:p>
          <a:p>
            <a:pPr lvl="1" algn="l"/>
            <a:r>
              <a:rPr lang="de-DE" sz="800" dirty="0">
                <a:solidFill>
                  <a:schemeClr val="tx1"/>
                </a:solidFill>
                <a:latin typeface="Arial"/>
                <a:ea typeface="MS PGothic" charset="0"/>
                <a:cs typeface="Arial"/>
              </a:rPr>
              <a:t>  </a:t>
            </a:r>
          </a:p>
          <a:p>
            <a:pPr algn="l"/>
            <a:r>
              <a:rPr lang="de-DE" sz="1800" dirty="0">
                <a:solidFill>
                  <a:srgbClr val="FF9900"/>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Automated</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startup</a:t>
            </a:r>
            <a:endParaRPr lang="de-DE" sz="1800" dirty="0">
              <a:solidFill>
                <a:schemeClr val="tx1"/>
              </a:solidFill>
              <a:latin typeface="Arial"/>
              <a:ea typeface="MS PGothic" charset="0"/>
              <a:cs typeface="Arial"/>
            </a:endParaRPr>
          </a:p>
          <a:p>
            <a:pPr lvl="1" algn="l"/>
            <a:r>
              <a:rPr lang="de-DE" sz="1800" dirty="0">
                <a:solidFill>
                  <a:schemeClr val="bg1">
                    <a:lumMod val="50000"/>
                  </a:schemeClr>
                </a:solidFill>
                <a:latin typeface="Arial" pitchFamily="34" charset="0"/>
              </a:rPr>
              <a:t>•</a:t>
            </a:r>
            <a:r>
              <a:rPr lang="de-DE" sz="1800" dirty="0">
                <a:solidFill>
                  <a:schemeClr val="tx1"/>
                </a:solidFill>
                <a:latin typeface="Arial" pitchFamily="34" charset="0"/>
              </a:rPr>
              <a:t> </a:t>
            </a:r>
            <a:r>
              <a:rPr lang="de-DE" sz="1800" dirty="0">
                <a:solidFill>
                  <a:schemeClr val="tx1"/>
                </a:solidFill>
                <a:latin typeface="Arial"/>
                <a:ea typeface="MS PGothic" charset="0"/>
                <a:cs typeface="Arial"/>
              </a:rPr>
              <a:t>„</a:t>
            </a:r>
            <a:r>
              <a:rPr lang="de-DE" sz="1800" dirty="0" err="1">
                <a:solidFill>
                  <a:schemeClr val="tx1"/>
                </a:solidFill>
                <a:latin typeface="Arial"/>
                <a:ea typeface="MS PGothic" charset="0"/>
                <a:cs typeface="Arial"/>
              </a:rPr>
              <a:t>Pushbutton</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configuration</a:t>
            </a:r>
            <a:r>
              <a:rPr lang="de-DE" sz="1800" dirty="0">
                <a:solidFill>
                  <a:schemeClr val="tx1"/>
                </a:solidFill>
                <a:latin typeface="Arial"/>
                <a:ea typeface="MS PGothic" charset="0"/>
                <a:cs typeface="Arial"/>
              </a:rPr>
              <a:t> </a:t>
            </a:r>
          </a:p>
          <a:p>
            <a:pPr lvl="1" algn="l"/>
            <a:r>
              <a:rPr lang="de-DE" sz="1800" dirty="0">
                <a:solidFill>
                  <a:srgbClr val="7F7F7F"/>
                </a:solidFill>
                <a:latin typeface="Arial" pitchFamily="34" charset="0"/>
              </a:rPr>
              <a:t>• </a:t>
            </a:r>
            <a:r>
              <a:rPr lang="de-DE" sz="1800" dirty="0" err="1">
                <a:solidFill>
                  <a:schemeClr val="tx1"/>
                </a:solidFill>
                <a:latin typeface="Arial"/>
                <a:ea typeface="MS PGothic" charset="0"/>
                <a:cs typeface="Arial"/>
              </a:rPr>
              <a:t>Pre-configured</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setups</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reduc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commissioning</a:t>
            </a:r>
            <a:endParaRPr lang="de-DE" sz="1800" dirty="0">
              <a:solidFill>
                <a:schemeClr val="tx1"/>
              </a:solidFill>
              <a:latin typeface="Arial"/>
              <a:ea typeface="MS PGothic" charset="0"/>
              <a:cs typeface="Arial"/>
            </a:endParaRPr>
          </a:p>
          <a:p>
            <a:pPr lvl="1" algn="l"/>
            <a:endParaRPr lang="de-DE" sz="1800" dirty="0">
              <a:solidFill>
                <a:schemeClr val="tx1"/>
              </a:solidFill>
              <a:latin typeface="Arial"/>
              <a:ea typeface="MS PGothic" charset="0"/>
              <a:cs typeface="Arial"/>
            </a:endParaRPr>
          </a:p>
        </p:txBody>
      </p:sp>
      <p:sp>
        <p:nvSpPr>
          <p:cNvPr id="5" name="Foliennummernplatzhalter 4"/>
          <p:cNvSpPr>
            <a:spLocks noGrp="1"/>
          </p:cNvSpPr>
          <p:nvPr>
            <p:ph type="sldNum" sz="quarter" idx="12"/>
          </p:nvPr>
        </p:nvSpPr>
        <p:spPr/>
        <p:txBody>
          <a:bodyPr/>
          <a:lstStyle/>
          <a:p>
            <a:fld id="{09AD34A2-EE0D-B74D-A5FF-4EBBE21DF867}" type="slidenum">
              <a:rPr lang="de-DE" smtClean="0"/>
              <a:t>12</a:t>
            </a:fld>
            <a:endParaRPr lang="de-DE"/>
          </a:p>
        </p:txBody>
      </p:sp>
      <p:sp>
        <p:nvSpPr>
          <p:cNvPr id="10" name="Rechteck 9"/>
          <p:cNvSpPr/>
          <p:nvPr/>
        </p:nvSpPr>
        <p:spPr>
          <a:xfrm>
            <a:off x="2244001" y="5637921"/>
            <a:ext cx="2787943" cy="369332"/>
          </a:xfrm>
          <a:prstGeom prst="rect">
            <a:avLst/>
          </a:prstGeom>
        </p:spPr>
        <p:txBody>
          <a:bodyPr wrap="none">
            <a:spAutoFit/>
          </a:bodyPr>
          <a:lstStyle/>
          <a:p>
            <a:r>
              <a:rPr lang="de-DE" b="1" dirty="0">
                <a:solidFill>
                  <a:srgbClr val="4BD651"/>
                </a:solidFill>
                <a:latin typeface="Arial"/>
                <a:ea typeface="MS PGothic" charset="0"/>
                <a:cs typeface="Arial"/>
                <a:sym typeface="Wingdings" panose="05000000000000000000" pitchFamily="2" charset="2"/>
              </a:rPr>
              <a:t></a:t>
            </a:r>
            <a:r>
              <a:rPr lang="de-DE" b="1" dirty="0">
                <a:latin typeface="Arial"/>
                <a:ea typeface="MS PGothic" charset="0"/>
                <a:cs typeface="Arial"/>
              </a:rPr>
              <a:t>  Solution </a:t>
            </a:r>
            <a:r>
              <a:rPr lang="de-DE" b="1" dirty="0" err="1">
                <a:latin typeface="Arial"/>
                <a:ea typeface="MS PGothic" charset="0"/>
                <a:cs typeface="Arial"/>
              </a:rPr>
              <a:t>with</a:t>
            </a:r>
            <a:r>
              <a:rPr lang="de-DE" b="1" dirty="0">
                <a:latin typeface="Arial"/>
                <a:ea typeface="MS PGothic" charset="0"/>
                <a:cs typeface="Arial"/>
              </a:rPr>
              <a:t> IO-Link</a:t>
            </a:r>
            <a:endParaRPr lang="de-DE" dirty="0"/>
          </a:p>
        </p:txBody>
      </p:sp>
    </p:spTree>
    <p:extLst>
      <p:ext uri="{BB962C8B-B14F-4D97-AF65-F5344CB8AC3E}">
        <p14:creationId xmlns:p14="http://schemas.microsoft.com/office/powerpoint/2010/main" val="224119421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30"/>
          <p:cNvGrpSpPr>
            <a:grpSpLocks/>
          </p:cNvGrpSpPr>
          <p:nvPr/>
        </p:nvGrpSpPr>
        <p:grpSpPr bwMode="auto">
          <a:xfrm>
            <a:off x="8266800" y="4535176"/>
            <a:ext cx="2052638" cy="1766887"/>
            <a:chOff x="4604" y="2857"/>
            <a:chExt cx="1293" cy="1113"/>
          </a:xfrm>
        </p:grpSpPr>
        <p:pic>
          <p:nvPicPr>
            <p:cNvPr id="14" name="Picture 27" descr="Lebenszyklus_2009_04_09"/>
            <p:cNvPicPr>
              <a:picLocks noChangeAspect="1" noChangeArrowheads="1"/>
            </p:cNvPicPr>
            <p:nvPr>
              <p:custDataLst>
                <p:tags r:id="rId1"/>
              </p:custDataLst>
            </p:nvPr>
          </p:nvPicPr>
          <p:blipFill>
            <a:blip r:embed="rId4">
              <a:clrChange>
                <a:clrFrom>
                  <a:srgbClr val="FFFFFF"/>
                </a:clrFrom>
                <a:clrTo>
                  <a:srgbClr val="FFFFFF">
                    <a:alpha val="0"/>
                  </a:srgbClr>
                </a:clrTo>
              </a:clrChang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604" y="2931"/>
              <a:ext cx="1293" cy="10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Freeform 29"/>
            <p:cNvSpPr>
              <a:spLocks/>
            </p:cNvSpPr>
            <p:nvPr/>
          </p:nvSpPr>
          <p:spPr bwMode="auto">
            <a:xfrm>
              <a:off x="4640" y="2857"/>
              <a:ext cx="1133" cy="1067"/>
            </a:xfrm>
            <a:custGeom>
              <a:avLst/>
              <a:gdLst>
                <a:gd name="T0" fmla="*/ 404 w 1133"/>
                <a:gd name="T1" fmla="*/ 607 h 1067"/>
                <a:gd name="T2" fmla="*/ 209 w 1133"/>
                <a:gd name="T3" fmla="*/ 599 h 1067"/>
                <a:gd name="T4" fmla="*/ 108 w 1133"/>
                <a:gd name="T5" fmla="*/ 576 h 1067"/>
                <a:gd name="T6" fmla="*/ 38 w 1133"/>
                <a:gd name="T7" fmla="*/ 545 h 1067"/>
                <a:gd name="T8" fmla="*/ 38 w 1133"/>
                <a:gd name="T9" fmla="*/ 365 h 1067"/>
                <a:gd name="T10" fmla="*/ 54 w 1133"/>
                <a:gd name="T11" fmla="*/ 311 h 1067"/>
                <a:gd name="T12" fmla="*/ 147 w 1133"/>
                <a:gd name="T13" fmla="*/ 218 h 1067"/>
                <a:gd name="T14" fmla="*/ 209 w 1133"/>
                <a:gd name="T15" fmla="*/ 163 h 1067"/>
                <a:gd name="T16" fmla="*/ 303 w 1133"/>
                <a:gd name="T17" fmla="*/ 62 h 1067"/>
                <a:gd name="T18" fmla="*/ 412 w 1133"/>
                <a:gd name="T19" fmla="*/ 0 h 1067"/>
                <a:gd name="T20" fmla="*/ 809 w 1133"/>
                <a:gd name="T21" fmla="*/ 31 h 1067"/>
                <a:gd name="T22" fmla="*/ 941 w 1133"/>
                <a:gd name="T23" fmla="*/ 132 h 1067"/>
                <a:gd name="T24" fmla="*/ 964 w 1133"/>
                <a:gd name="T25" fmla="*/ 155 h 1067"/>
                <a:gd name="T26" fmla="*/ 1011 w 1133"/>
                <a:gd name="T27" fmla="*/ 186 h 1067"/>
                <a:gd name="T28" fmla="*/ 1050 w 1133"/>
                <a:gd name="T29" fmla="*/ 241 h 1067"/>
                <a:gd name="T30" fmla="*/ 1058 w 1133"/>
                <a:gd name="T31" fmla="*/ 280 h 1067"/>
                <a:gd name="T32" fmla="*/ 1104 w 1133"/>
                <a:gd name="T33" fmla="*/ 303 h 1067"/>
                <a:gd name="T34" fmla="*/ 1112 w 1133"/>
                <a:gd name="T35" fmla="*/ 591 h 1067"/>
                <a:gd name="T36" fmla="*/ 1081 w 1133"/>
                <a:gd name="T37" fmla="*/ 661 h 1067"/>
                <a:gd name="T38" fmla="*/ 1042 w 1133"/>
                <a:gd name="T39" fmla="*/ 840 h 1067"/>
                <a:gd name="T40" fmla="*/ 1003 w 1133"/>
                <a:gd name="T41" fmla="*/ 910 h 1067"/>
                <a:gd name="T42" fmla="*/ 988 w 1133"/>
                <a:gd name="T43" fmla="*/ 1004 h 1067"/>
                <a:gd name="T44" fmla="*/ 941 w 1133"/>
                <a:gd name="T45" fmla="*/ 1019 h 1067"/>
                <a:gd name="T46" fmla="*/ 894 w 1133"/>
                <a:gd name="T47" fmla="*/ 1043 h 1067"/>
                <a:gd name="T48" fmla="*/ 848 w 1133"/>
                <a:gd name="T49" fmla="*/ 1050 h 1067"/>
                <a:gd name="T50" fmla="*/ 762 w 1133"/>
                <a:gd name="T51" fmla="*/ 1004 h 1067"/>
                <a:gd name="T52" fmla="*/ 707 w 1133"/>
                <a:gd name="T53" fmla="*/ 996 h 1067"/>
                <a:gd name="T54" fmla="*/ 645 w 1133"/>
                <a:gd name="T55" fmla="*/ 903 h 1067"/>
                <a:gd name="T56" fmla="*/ 583 w 1133"/>
                <a:gd name="T57" fmla="*/ 747 h 1067"/>
                <a:gd name="T58" fmla="*/ 513 w 1133"/>
                <a:gd name="T59" fmla="*/ 646 h 1067"/>
                <a:gd name="T60" fmla="*/ 404 w 1133"/>
                <a:gd name="T61" fmla="*/ 607 h 106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3"/>
                <a:gd name="T94" fmla="*/ 0 h 1067"/>
                <a:gd name="T95" fmla="*/ 1133 w 1133"/>
                <a:gd name="T96" fmla="*/ 1067 h 106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3" h="1067">
                  <a:moveTo>
                    <a:pt x="404" y="607"/>
                  </a:moveTo>
                  <a:cubicBezTo>
                    <a:pt x="339" y="604"/>
                    <a:pt x="274" y="605"/>
                    <a:pt x="209" y="599"/>
                  </a:cubicBezTo>
                  <a:cubicBezTo>
                    <a:pt x="175" y="596"/>
                    <a:pt x="142" y="580"/>
                    <a:pt x="108" y="576"/>
                  </a:cubicBezTo>
                  <a:cubicBezTo>
                    <a:pt x="52" y="557"/>
                    <a:pt x="75" y="569"/>
                    <a:pt x="38" y="545"/>
                  </a:cubicBezTo>
                  <a:cubicBezTo>
                    <a:pt x="0" y="488"/>
                    <a:pt x="19" y="430"/>
                    <a:pt x="38" y="365"/>
                  </a:cubicBezTo>
                  <a:cubicBezTo>
                    <a:pt x="39" y="362"/>
                    <a:pt x="49" y="317"/>
                    <a:pt x="54" y="311"/>
                  </a:cubicBezTo>
                  <a:cubicBezTo>
                    <a:pt x="81" y="276"/>
                    <a:pt x="116" y="249"/>
                    <a:pt x="147" y="218"/>
                  </a:cubicBezTo>
                  <a:cubicBezTo>
                    <a:pt x="206" y="159"/>
                    <a:pt x="149" y="194"/>
                    <a:pt x="209" y="163"/>
                  </a:cubicBezTo>
                  <a:cubicBezTo>
                    <a:pt x="252" y="99"/>
                    <a:pt x="248" y="96"/>
                    <a:pt x="303" y="62"/>
                  </a:cubicBezTo>
                  <a:cubicBezTo>
                    <a:pt x="317" y="15"/>
                    <a:pt x="369" y="10"/>
                    <a:pt x="412" y="0"/>
                  </a:cubicBezTo>
                  <a:cubicBezTo>
                    <a:pt x="550" y="4"/>
                    <a:pt x="675" y="8"/>
                    <a:pt x="809" y="31"/>
                  </a:cubicBezTo>
                  <a:cubicBezTo>
                    <a:pt x="830" y="63"/>
                    <a:pt x="903" y="119"/>
                    <a:pt x="941" y="132"/>
                  </a:cubicBezTo>
                  <a:cubicBezTo>
                    <a:pt x="949" y="140"/>
                    <a:pt x="955" y="148"/>
                    <a:pt x="964" y="155"/>
                  </a:cubicBezTo>
                  <a:cubicBezTo>
                    <a:pt x="979" y="166"/>
                    <a:pt x="1011" y="186"/>
                    <a:pt x="1011" y="186"/>
                  </a:cubicBezTo>
                  <a:cubicBezTo>
                    <a:pt x="1024" y="204"/>
                    <a:pt x="1045" y="219"/>
                    <a:pt x="1050" y="241"/>
                  </a:cubicBezTo>
                  <a:cubicBezTo>
                    <a:pt x="1053" y="254"/>
                    <a:pt x="1051" y="268"/>
                    <a:pt x="1058" y="280"/>
                  </a:cubicBezTo>
                  <a:cubicBezTo>
                    <a:pt x="1065" y="291"/>
                    <a:pt x="1093" y="299"/>
                    <a:pt x="1104" y="303"/>
                  </a:cubicBezTo>
                  <a:cubicBezTo>
                    <a:pt x="1133" y="389"/>
                    <a:pt x="1120" y="504"/>
                    <a:pt x="1112" y="591"/>
                  </a:cubicBezTo>
                  <a:cubicBezTo>
                    <a:pt x="1110" y="616"/>
                    <a:pt x="1089" y="638"/>
                    <a:pt x="1081" y="661"/>
                  </a:cubicBezTo>
                  <a:cubicBezTo>
                    <a:pt x="1076" y="724"/>
                    <a:pt x="1079" y="787"/>
                    <a:pt x="1042" y="840"/>
                  </a:cubicBezTo>
                  <a:cubicBezTo>
                    <a:pt x="1034" y="865"/>
                    <a:pt x="1003" y="910"/>
                    <a:pt x="1003" y="910"/>
                  </a:cubicBezTo>
                  <a:cubicBezTo>
                    <a:pt x="995" y="941"/>
                    <a:pt x="1006" y="978"/>
                    <a:pt x="988" y="1004"/>
                  </a:cubicBezTo>
                  <a:cubicBezTo>
                    <a:pt x="979" y="1018"/>
                    <a:pt x="957" y="1014"/>
                    <a:pt x="941" y="1019"/>
                  </a:cubicBezTo>
                  <a:cubicBezTo>
                    <a:pt x="924" y="1025"/>
                    <a:pt x="911" y="1038"/>
                    <a:pt x="894" y="1043"/>
                  </a:cubicBezTo>
                  <a:cubicBezTo>
                    <a:pt x="879" y="1048"/>
                    <a:pt x="863" y="1048"/>
                    <a:pt x="848" y="1050"/>
                  </a:cubicBezTo>
                  <a:cubicBezTo>
                    <a:pt x="798" y="1067"/>
                    <a:pt x="791" y="1047"/>
                    <a:pt x="762" y="1004"/>
                  </a:cubicBezTo>
                  <a:cubicBezTo>
                    <a:pt x="752" y="989"/>
                    <a:pt x="725" y="999"/>
                    <a:pt x="707" y="996"/>
                  </a:cubicBezTo>
                  <a:cubicBezTo>
                    <a:pt x="695" y="957"/>
                    <a:pt x="668" y="936"/>
                    <a:pt x="645" y="903"/>
                  </a:cubicBezTo>
                  <a:cubicBezTo>
                    <a:pt x="635" y="844"/>
                    <a:pt x="611" y="799"/>
                    <a:pt x="583" y="747"/>
                  </a:cubicBezTo>
                  <a:cubicBezTo>
                    <a:pt x="559" y="703"/>
                    <a:pt x="554" y="673"/>
                    <a:pt x="513" y="646"/>
                  </a:cubicBezTo>
                  <a:cubicBezTo>
                    <a:pt x="485" y="603"/>
                    <a:pt x="459" y="613"/>
                    <a:pt x="404" y="607"/>
                  </a:cubicBezTo>
                  <a:close/>
                </a:path>
              </a:pathLst>
            </a:custGeom>
            <a:solidFill>
              <a:schemeClr val="bg1">
                <a:alpha val="59999"/>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de-DE">
                <a:latin typeface="Arial"/>
                <a:cs typeface="Arial"/>
              </a:endParaRPr>
            </a:p>
          </p:txBody>
        </p:sp>
      </p:grpSp>
      <p:sp>
        <p:nvSpPr>
          <p:cNvPr id="9" name="Textplatzhalter 1"/>
          <p:cNvSpPr txBox="1">
            <a:spLocks/>
          </p:cNvSpPr>
          <p:nvPr/>
        </p:nvSpPr>
        <p:spPr>
          <a:xfrm>
            <a:off x="2244000" y="1080000"/>
            <a:ext cx="3492500" cy="540000"/>
          </a:xfrm>
          <a:prstGeom prst="rect">
            <a:avLst/>
          </a:prstGeom>
        </p:spPr>
        <p:txBody>
          <a:bodyPr vert="horz" lIns="0" tIns="45720" rIns="91440" bIns="45720" rtlCol="0" anchor="ctr"/>
          <a:lstStyle>
            <a:defPPr>
              <a:defRPr lang="de-DE"/>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de-DE" sz="2000" b="1" dirty="0" err="1">
                <a:solidFill>
                  <a:srgbClr val="FF9900"/>
                </a:solidFill>
                <a:latin typeface="Arial"/>
                <a:ea typeface="MS PGothic" charset="0"/>
                <a:cs typeface="Arial"/>
              </a:rPr>
              <a:t>Machine</a:t>
            </a:r>
            <a:r>
              <a:rPr lang="de-DE" sz="2000" b="1" dirty="0">
                <a:solidFill>
                  <a:srgbClr val="FF9900"/>
                </a:solidFill>
                <a:latin typeface="Arial"/>
                <a:ea typeface="MS PGothic" charset="0"/>
                <a:cs typeface="Arial"/>
              </a:rPr>
              <a:t> Operation </a:t>
            </a:r>
            <a:endParaRPr lang="de-DE" sz="2000" b="1" dirty="0">
              <a:solidFill>
                <a:srgbClr val="FF9900"/>
              </a:solidFill>
              <a:latin typeface="Arial"/>
              <a:cs typeface="Arial"/>
            </a:endParaRPr>
          </a:p>
        </p:txBody>
      </p:sp>
      <p:sp>
        <p:nvSpPr>
          <p:cNvPr id="12" name="Rectangle 3"/>
          <p:cNvSpPr txBox="1">
            <a:spLocks noChangeArrowheads="1"/>
          </p:cNvSpPr>
          <p:nvPr/>
        </p:nvSpPr>
        <p:spPr>
          <a:xfrm>
            <a:off x="2244000" y="1664701"/>
            <a:ext cx="6267450" cy="3670301"/>
          </a:xfrm>
          <a:prstGeom prst="rect">
            <a:avLst/>
          </a:prstGeom>
          <a:noFill/>
        </p:spPr>
        <p:txBody>
          <a:bodyPr vert="horz" lIns="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90000"/>
              </a:lnSpc>
            </a:pPr>
            <a:r>
              <a:rPr lang="de-DE" sz="1800" b="1" dirty="0">
                <a:solidFill>
                  <a:schemeClr val="tx1"/>
                </a:solidFill>
                <a:latin typeface="Arial"/>
                <a:ea typeface="MS PGothic" charset="0"/>
                <a:cs typeface="Arial"/>
              </a:rPr>
              <a:t>Higher </a:t>
            </a:r>
            <a:r>
              <a:rPr lang="de-DE" sz="1800" b="1" dirty="0" err="1">
                <a:solidFill>
                  <a:schemeClr val="tx1"/>
                </a:solidFill>
                <a:latin typeface="Arial"/>
                <a:ea typeface="MS PGothic" charset="0"/>
                <a:cs typeface="Arial"/>
              </a:rPr>
              <a:t>Productivity</a:t>
            </a:r>
            <a:endParaRPr lang="de-DE" sz="1800" b="1" dirty="0">
              <a:solidFill>
                <a:schemeClr val="tx1"/>
              </a:solidFill>
              <a:latin typeface="Arial"/>
              <a:ea typeface="MS PGothic" charset="0"/>
              <a:cs typeface="Arial"/>
            </a:endParaRPr>
          </a:p>
          <a:p>
            <a:pPr algn="l">
              <a:lnSpc>
                <a:spcPct val="90000"/>
              </a:lnSpc>
            </a:pPr>
            <a:r>
              <a:rPr lang="de-DE" sz="800" b="1" dirty="0">
                <a:solidFill>
                  <a:schemeClr val="tx1"/>
                </a:solidFill>
                <a:latin typeface="Arial"/>
                <a:ea typeface="MS PGothic" charset="0"/>
                <a:cs typeface="Arial"/>
              </a:rPr>
              <a:t>  </a:t>
            </a:r>
          </a:p>
          <a:p>
            <a:pPr algn="l"/>
            <a:r>
              <a:rPr lang="de-DE" sz="1800" dirty="0">
                <a:solidFill>
                  <a:srgbClr val="FF9900"/>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Machin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availability</a:t>
            </a:r>
            <a:endParaRPr lang="de-DE" sz="1800" dirty="0">
              <a:solidFill>
                <a:schemeClr val="tx1"/>
              </a:solidFill>
              <a:latin typeface="Arial"/>
              <a:ea typeface="MS PGothic" charset="0"/>
              <a:cs typeface="Arial"/>
            </a:endParaRPr>
          </a:p>
          <a:p>
            <a:pPr lvl="1" algn="l"/>
            <a:r>
              <a:rPr lang="de-DE" sz="1800" dirty="0">
                <a:solidFill>
                  <a:schemeClr val="bg1">
                    <a:lumMod val="50000"/>
                  </a:schemeClr>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Reduction</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of</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machin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breakdowns</a:t>
            </a:r>
            <a:endParaRPr lang="de-DE" sz="1800" dirty="0">
              <a:solidFill>
                <a:schemeClr val="tx1"/>
              </a:solidFill>
              <a:latin typeface="Arial"/>
              <a:ea typeface="MS PGothic" charset="0"/>
              <a:cs typeface="Arial"/>
            </a:endParaRPr>
          </a:p>
          <a:p>
            <a:pPr lvl="1" algn="l"/>
            <a:r>
              <a:rPr lang="de-DE" sz="1800" dirty="0">
                <a:solidFill>
                  <a:srgbClr val="7F7F7F"/>
                </a:solidFill>
                <a:latin typeface="Arial" pitchFamily="34" charset="0"/>
              </a:rPr>
              <a:t>• </a:t>
            </a:r>
            <a:r>
              <a:rPr lang="de-DE" sz="1800" dirty="0" err="1">
                <a:solidFill>
                  <a:schemeClr val="tx1"/>
                </a:solidFill>
                <a:latin typeface="Arial"/>
                <a:ea typeface="MS PGothic" charset="0"/>
                <a:cs typeface="Arial"/>
              </a:rPr>
              <a:t>Predictiv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maintenance</a:t>
            </a:r>
            <a:endParaRPr lang="de-DE" sz="1800" dirty="0">
              <a:solidFill>
                <a:schemeClr val="tx1"/>
              </a:solidFill>
              <a:latin typeface="Arial"/>
              <a:ea typeface="MS PGothic" charset="0"/>
              <a:cs typeface="Arial"/>
            </a:endParaRPr>
          </a:p>
          <a:p>
            <a:pPr lvl="1" algn="l"/>
            <a:r>
              <a:rPr lang="de-DE" sz="800" dirty="0">
                <a:solidFill>
                  <a:schemeClr val="tx1"/>
                </a:solidFill>
                <a:latin typeface="Arial"/>
                <a:ea typeface="MS PGothic" charset="0"/>
                <a:cs typeface="Arial"/>
              </a:rPr>
              <a:t>  </a:t>
            </a:r>
          </a:p>
          <a:p>
            <a:pPr algn="l"/>
            <a:r>
              <a:rPr lang="de-DE" sz="1800" dirty="0">
                <a:solidFill>
                  <a:srgbClr val="FF9900"/>
                </a:solidFill>
                <a:latin typeface="Arial" pitchFamily="34" charset="0"/>
              </a:rPr>
              <a:t>•</a:t>
            </a:r>
            <a:r>
              <a:rPr lang="de-DE" sz="1800" dirty="0">
                <a:solidFill>
                  <a:schemeClr val="tx1"/>
                </a:solidFill>
                <a:latin typeface="Arial" pitchFamily="34" charset="0"/>
              </a:rPr>
              <a:t> </a:t>
            </a:r>
            <a:r>
              <a:rPr lang="de-DE" sz="1800" dirty="0">
                <a:solidFill>
                  <a:schemeClr val="tx1"/>
                </a:solidFill>
                <a:latin typeface="Arial"/>
                <a:ea typeface="MS PGothic" charset="0"/>
                <a:cs typeface="Arial"/>
              </a:rPr>
              <a:t>Maximum </a:t>
            </a:r>
            <a:r>
              <a:rPr lang="de-DE" sz="1800" dirty="0" err="1">
                <a:solidFill>
                  <a:schemeClr val="tx1"/>
                </a:solidFill>
                <a:latin typeface="Arial"/>
                <a:ea typeface="MS PGothic" charset="0"/>
                <a:cs typeface="Arial"/>
              </a:rPr>
              <a:t>transparency</a:t>
            </a:r>
            <a:endParaRPr lang="de-DE" sz="1800" dirty="0">
              <a:solidFill>
                <a:schemeClr val="tx1"/>
              </a:solidFill>
              <a:latin typeface="Arial"/>
              <a:ea typeface="MS PGothic" charset="0"/>
              <a:cs typeface="Arial"/>
            </a:endParaRPr>
          </a:p>
          <a:p>
            <a:pPr lvl="1" algn="l"/>
            <a:r>
              <a:rPr lang="de-DE" sz="1800" dirty="0">
                <a:solidFill>
                  <a:srgbClr val="7F7F7F"/>
                </a:solidFill>
                <a:latin typeface="Arial" pitchFamily="34" charset="0"/>
              </a:rPr>
              <a:t>• </a:t>
            </a:r>
            <a:r>
              <a:rPr lang="de-DE" sz="1800" dirty="0" err="1">
                <a:solidFill>
                  <a:schemeClr val="tx1"/>
                </a:solidFill>
                <a:latin typeface="Arial"/>
                <a:ea typeface="MS PGothic" charset="0"/>
                <a:cs typeface="Arial"/>
              </a:rPr>
              <a:t>Transparency</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up</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to</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th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sensor</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and</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actuator</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data</a:t>
            </a:r>
            <a:endParaRPr lang="de-DE" sz="1800" dirty="0">
              <a:solidFill>
                <a:schemeClr val="tx1"/>
              </a:solidFill>
              <a:latin typeface="Arial"/>
              <a:ea typeface="MS PGothic" charset="0"/>
              <a:cs typeface="Arial"/>
            </a:endParaRPr>
          </a:p>
          <a:p>
            <a:pPr lvl="1" algn="l"/>
            <a:r>
              <a:rPr lang="de-DE" sz="1800" dirty="0">
                <a:solidFill>
                  <a:srgbClr val="7F7F7F"/>
                </a:solidFill>
                <a:latin typeface="Arial" pitchFamily="34" charset="0"/>
              </a:rPr>
              <a:t>• </a:t>
            </a:r>
            <a:r>
              <a:rPr lang="de-DE" sz="1800" dirty="0">
                <a:solidFill>
                  <a:schemeClr val="tx1"/>
                </a:solidFill>
                <a:latin typeface="Arial"/>
                <a:ea typeface="MS PGothic" charset="0"/>
                <a:cs typeface="Arial"/>
              </a:rPr>
              <a:t>Remote </a:t>
            </a:r>
            <a:r>
              <a:rPr lang="de-DE" sz="1800" dirty="0" err="1">
                <a:solidFill>
                  <a:schemeClr val="tx1"/>
                </a:solidFill>
                <a:latin typeface="Arial"/>
                <a:ea typeface="MS PGothic" charset="0"/>
                <a:cs typeface="Arial"/>
              </a:rPr>
              <a:t>machin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diagnosis</a:t>
            </a:r>
            <a:endParaRPr lang="de-DE" sz="1800" dirty="0">
              <a:solidFill>
                <a:schemeClr val="tx1"/>
              </a:solidFill>
              <a:latin typeface="Arial"/>
              <a:ea typeface="MS PGothic" charset="0"/>
              <a:cs typeface="Arial"/>
            </a:endParaRPr>
          </a:p>
          <a:p>
            <a:pPr lvl="1" algn="l"/>
            <a:r>
              <a:rPr lang="de-DE" sz="800" dirty="0">
                <a:solidFill>
                  <a:schemeClr val="tx1"/>
                </a:solidFill>
                <a:latin typeface="Arial"/>
                <a:ea typeface="MS PGothic" charset="0"/>
                <a:cs typeface="Arial"/>
              </a:rPr>
              <a:t>  </a:t>
            </a:r>
          </a:p>
          <a:p>
            <a:pPr algn="l"/>
            <a:r>
              <a:rPr lang="de-DE" sz="1800" dirty="0">
                <a:solidFill>
                  <a:srgbClr val="FF9900"/>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Increas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of</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efficiency</a:t>
            </a:r>
            <a:endParaRPr lang="de-DE" sz="1800" dirty="0">
              <a:solidFill>
                <a:schemeClr val="tx1"/>
              </a:solidFill>
              <a:latin typeface="Arial"/>
              <a:ea typeface="MS PGothic" charset="0"/>
              <a:cs typeface="Arial"/>
            </a:endParaRPr>
          </a:p>
          <a:p>
            <a:pPr lvl="1" algn="l"/>
            <a:r>
              <a:rPr lang="de-DE" sz="1800" dirty="0">
                <a:solidFill>
                  <a:srgbClr val="7F7F7F"/>
                </a:solidFill>
                <a:latin typeface="Arial" pitchFamily="34" charset="0"/>
              </a:rPr>
              <a:t>•</a:t>
            </a:r>
            <a:r>
              <a:rPr lang="de-DE" sz="1800" dirty="0">
                <a:solidFill>
                  <a:schemeClr val="tx1"/>
                </a:solidFill>
                <a:latin typeface="Arial" pitchFamily="34" charset="0"/>
              </a:rPr>
              <a:t> </a:t>
            </a:r>
            <a:r>
              <a:rPr lang="de-DE" sz="1800" dirty="0">
                <a:solidFill>
                  <a:schemeClr val="tx1"/>
                </a:solidFill>
                <a:latin typeface="Arial"/>
                <a:ea typeface="MS PGothic" charset="0"/>
                <a:cs typeface="Arial"/>
              </a:rPr>
              <a:t>Parameter </a:t>
            </a:r>
            <a:r>
              <a:rPr lang="de-DE" sz="1800" dirty="0" err="1">
                <a:solidFill>
                  <a:schemeClr val="tx1"/>
                </a:solidFill>
                <a:latin typeface="Arial"/>
                <a:ea typeface="MS PGothic" charset="0"/>
                <a:cs typeface="Arial"/>
              </a:rPr>
              <a:t>change</a:t>
            </a:r>
            <a:r>
              <a:rPr lang="de-DE" sz="1800" dirty="0">
                <a:solidFill>
                  <a:schemeClr val="tx1"/>
                </a:solidFill>
                <a:latin typeface="Arial"/>
                <a:ea typeface="MS PGothic" charset="0"/>
                <a:cs typeface="Arial"/>
              </a:rPr>
              <a:t> in </a:t>
            </a:r>
            <a:r>
              <a:rPr lang="de-DE" sz="1800" dirty="0" err="1">
                <a:solidFill>
                  <a:schemeClr val="tx1"/>
                </a:solidFill>
                <a:latin typeface="Arial"/>
                <a:ea typeface="MS PGothic" charset="0"/>
                <a:cs typeface="Arial"/>
              </a:rPr>
              <a:t>operation</a:t>
            </a:r>
            <a:endParaRPr lang="de-DE" sz="1800" dirty="0">
              <a:solidFill>
                <a:schemeClr val="tx1"/>
              </a:solidFill>
              <a:latin typeface="Arial"/>
              <a:ea typeface="MS PGothic" charset="0"/>
              <a:cs typeface="Arial"/>
            </a:endParaRPr>
          </a:p>
          <a:p>
            <a:pPr lvl="1" algn="l"/>
            <a:r>
              <a:rPr lang="de-DE" sz="1800" dirty="0">
                <a:solidFill>
                  <a:srgbClr val="7F7F7F"/>
                </a:solidFill>
                <a:latin typeface="Arial" pitchFamily="34" charset="0"/>
              </a:rPr>
              <a:t>• </a:t>
            </a:r>
            <a:r>
              <a:rPr lang="de-DE" sz="1800" dirty="0">
                <a:solidFill>
                  <a:schemeClr val="tx1"/>
                </a:solidFill>
                <a:latin typeface="Arial"/>
                <a:ea typeface="MS PGothic" charset="0"/>
                <a:cs typeface="Arial"/>
              </a:rPr>
              <a:t>Online </a:t>
            </a:r>
            <a:r>
              <a:rPr lang="de-DE" sz="1800" dirty="0" err="1">
                <a:solidFill>
                  <a:schemeClr val="tx1"/>
                </a:solidFill>
                <a:latin typeface="Arial"/>
                <a:ea typeface="MS PGothic" charset="0"/>
                <a:cs typeface="Arial"/>
              </a:rPr>
              <a:t>observing</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alarm</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management</a:t>
            </a:r>
            <a:endParaRPr lang="de-DE" sz="1800" dirty="0">
              <a:solidFill>
                <a:schemeClr val="tx1"/>
              </a:solidFill>
              <a:latin typeface="Arial"/>
              <a:ea typeface="MS PGothic" charset="0"/>
              <a:cs typeface="Arial"/>
            </a:endParaRPr>
          </a:p>
        </p:txBody>
      </p:sp>
      <p:sp>
        <p:nvSpPr>
          <p:cNvPr id="4" name="Foliennummernplatzhalter 3"/>
          <p:cNvSpPr>
            <a:spLocks noGrp="1"/>
          </p:cNvSpPr>
          <p:nvPr>
            <p:ph type="sldNum" sz="quarter" idx="12"/>
          </p:nvPr>
        </p:nvSpPr>
        <p:spPr/>
        <p:txBody>
          <a:bodyPr/>
          <a:lstStyle/>
          <a:p>
            <a:fld id="{09AD34A2-EE0D-B74D-A5FF-4EBBE21DF867}" type="slidenum">
              <a:rPr lang="de-DE" smtClean="0"/>
              <a:t>13</a:t>
            </a:fld>
            <a:endParaRPr lang="de-DE"/>
          </a:p>
        </p:txBody>
      </p:sp>
      <p:sp>
        <p:nvSpPr>
          <p:cNvPr id="10" name="Rechteck 9"/>
          <p:cNvSpPr/>
          <p:nvPr/>
        </p:nvSpPr>
        <p:spPr>
          <a:xfrm>
            <a:off x="2244001" y="5637921"/>
            <a:ext cx="2787943" cy="369332"/>
          </a:xfrm>
          <a:prstGeom prst="rect">
            <a:avLst/>
          </a:prstGeom>
        </p:spPr>
        <p:txBody>
          <a:bodyPr wrap="none">
            <a:spAutoFit/>
          </a:bodyPr>
          <a:lstStyle/>
          <a:p>
            <a:r>
              <a:rPr lang="de-DE" b="1" dirty="0">
                <a:solidFill>
                  <a:srgbClr val="4BD651"/>
                </a:solidFill>
                <a:latin typeface="Arial"/>
                <a:ea typeface="MS PGothic" charset="0"/>
                <a:cs typeface="Arial"/>
                <a:sym typeface="Wingdings" panose="05000000000000000000" pitchFamily="2" charset="2"/>
              </a:rPr>
              <a:t></a:t>
            </a:r>
            <a:r>
              <a:rPr lang="de-DE" b="1" dirty="0">
                <a:latin typeface="Arial"/>
                <a:ea typeface="MS PGothic" charset="0"/>
                <a:cs typeface="Arial"/>
              </a:rPr>
              <a:t>  Solution </a:t>
            </a:r>
            <a:r>
              <a:rPr lang="de-DE" b="1" dirty="0" err="1">
                <a:latin typeface="Arial"/>
                <a:ea typeface="MS PGothic" charset="0"/>
                <a:cs typeface="Arial"/>
              </a:rPr>
              <a:t>with</a:t>
            </a:r>
            <a:r>
              <a:rPr lang="de-DE" b="1" dirty="0">
                <a:latin typeface="Arial"/>
                <a:ea typeface="MS PGothic" charset="0"/>
                <a:cs typeface="Arial"/>
              </a:rPr>
              <a:t> IO-Link</a:t>
            </a:r>
            <a:endParaRPr lang="de-DE" dirty="0"/>
          </a:p>
        </p:txBody>
      </p:sp>
    </p:spTree>
    <p:extLst>
      <p:ext uri="{BB962C8B-B14F-4D97-AF65-F5344CB8AC3E}">
        <p14:creationId xmlns:p14="http://schemas.microsoft.com/office/powerpoint/2010/main" val="287420902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31"/>
          <p:cNvGrpSpPr>
            <a:grpSpLocks/>
          </p:cNvGrpSpPr>
          <p:nvPr/>
        </p:nvGrpSpPr>
        <p:grpSpPr bwMode="auto">
          <a:xfrm>
            <a:off x="8266800" y="4597088"/>
            <a:ext cx="2052638" cy="1704975"/>
            <a:chOff x="4604" y="2896"/>
            <a:chExt cx="1293" cy="1074"/>
          </a:xfrm>
        </p:grpSpPr>
        <p:pic>
          <p:nvPicPr>
            <p:cNvPr id="18" name="Picture 27" descr="Lebenszyklus_2009_04_09"/>
            <p:cNvPicPr>
              <a:picLocks noChangeAspect="1" noChangeArrowheads="1"/>
            </p:cNvPicPr>
            <p:nvPr>
              <p:custDataLst>
                <p:tags r:id="rId1"/>
              </p:custDataLst>
            </p:nvPr>
          </p:nvPicPr>
          <p:blipFill>
            <a:blip r:embed="rId4">
              <a:clrChange>
                <a:clrFrom>
                  <a:srgbClr val="FFFFFF"/>
                </a:clrFrom>
                <a:clrTo>
                  <a:srgbClr val="FFFFFF">
                    <a:alpha val="0"/>
                  </a:srgbClr>
                </a:clrTo>
              </a:clrChang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604" y="2931"/>
              <a:ext cx="1293" cy="10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 name="Freeform 30"/>
            <p:cNvSpPr>
              <a:spLocks/>
            </p:cNvSpPr>
            <p:nvPr/>
          </p:nvSpPr>
          <p:spPr bwMode="auto">
            <a:xfrm>
              <a:off x="4775" y="2896"/>
              <a:ext cx="968" cy="1036"/>
            </a:xfrm>
            <a:custGeom>
              <a:avLst/>
              <a:gdLst>
                <a:gd name="T0" fmla="*/ 417 w 968"/>
                <a:gd name="T1" fmla="*/ 537 h 1036"/>
                <a:gd name="T2" fmla="*/ 331 w 968"/>
                <a:gd name="T3" fmla="*/ 397 h 1036"/>
                <a:gd name="T4" fmla="*/ 323 w 968"/>
                <a:gd name="T5" fmla="*/ 311 h 1036"/>
                <a:gd name="T6" fmla="*/ 308 w 968"/>
                <a:gd name="T7" fmla="*/ 264 h 1036"/>
                <a:gd name="T8" fmla="*/ 355 w 968"/>
                <a:gd name="T9" fmla="*/ 38 h 1036"/>
                <a:gd name="T10" fmla="*/ 370 w 968"/>
                <a:gd name="T11" fmla="*/ 15 h 1036"/>
                <a:gd name="T12" fmla="*/ 448 w 968"/>
                <a:gd name="T13" fmla="*/ 0 h 1036"/>
                <a:gd name="T14" fmla="*/ 611 w 968"/>
                <a:gd name="T15" fmla="*/ 23 h 1036"/>
                <a:gd name="T16" fmla="*/ 635 w 968"/>
                <a:gd name="T17" fmla="*/ 46 h 1036"/>
                <a:gd name="T18" fmla="*/ 681 w 968"/>
                <a:gd name="T19" fmla="*/ 62 h 1036"/>
                <a:gd name="T20" fmla="*/ 736 w 968"/>
                <a:gd name="T21" fmla="*/ 116 h 1036"/>
                <a:gd name="T22" fmla="*/ 767 w 968"/>
                <a:gd name="T23" fmla="*/ 163 h 1036"/>
                <a:gd name="T24" fmla="*/ 860 w 968"/>
                <a:gd name="T25" fmla="*/ 186 h 1036"/>
                <a:gd name="T26" fmla="*/ 884 w 968"/>
                <a:gd name="T27" fmla="*/ 233 h 1036"/>
                <a:gd name="T28" fmla="*/ 899 w 968"/>
                <a:gd name="T29" fmla="*/ 295 h 1036"/>
                <a:gd name="T30" fmla="*/ 923 w 968"/>
                <a:gd name="T31" fmla="*/ 303 h 1036"/>
                <a:gd name="T32" fmla="*/ 962 w 968"/>
                <a:gd name="T33" fmla="*/ 435 h 1036"/>
                <a:gd name="T34" fmla="*/ 923 w 968"/>
                <a:gd name="T35" fmla="*/ 583 h 1036"/>
                <a:gd name="T36" fmla="*/ 915 w 968"/>
                <a:gd name="T37" fmla="*/ 856 h 1036"/>
                <a:gd name="T38" fmla="*/ 868 w 968"/>
                <a:gd name="T39" fmla="*/ 910 h 1036"/>
                <a:gd name="T40" fmla="*/ 837 w 968"/>
                <a:gd name="T41" fmla="*/ 980 h 1036"/>
                <a:gd name="T42" fmla="*/ 697 w 968"/>
                <a:gd name="T43" fmla="*/ 1004 h 1036"/>
                <a:gd name="T44" fmla="*/ 82 w 968"/>
                <a:gd name="T45" fmla="*/ 980 h 1036"/>
                <a:gd name="T46" fmla="*/ 51 w 968"/>
                <a:gd name="T47" fmla="*/ 973 h 1036"/>
                <a:gd name="T48" fmla="*/ 4 w 968"/>
                <a:gd name="T49" fmla="*/ 957 h 1036"/>
                <a:gd name="T50" fmla="*/ 28 w 968"/>
                <a:gd name="T51" fmla="*/ 902 h 1036"/>
                <a:gd name="T52" fmla="*/ 82 w 968"/>
                <a:gd name="T53" fmla="*/ 801 h 1036"/>
                <a:gd name="T54" fmla="*/ 90 w 968"/>
                <a:gd name="T55" fmla="*/ 755 h 1036"/>
                <a:gd name="T56" fmla="*/ 113 w 968"/>
                <a:gd name="T57" fmla="*/ 747 h 1036"/>
                <a:gd name="T58" fmla="*/ 160 w 968"/>
                <a:gd name="T59" fmla="*/ 708 h 1036"/>
                <a:gd name="T60" fmla="*/ 199 w 968"/>
                <a:gd name="T61" fmla="*/ 646 h 1036"/>
                <a:gd name="T62" fmla="*/ 292 w 968"/>
                <a:gd name="T63" fmla="*/ 583 h 1036"/>
                <a:gd name="T64" fmla="*/ 362 w 968"/>
                <a:gd name="T65" fmla="*/ 529 h 1036"/>
                <a:gd name="T66" fmla="*/ 386 w 968"/>
                <a:gd name="T67" fmla="*/ 513 h 1036"/>
                <a:gd name="T68" fmla="*/ 417 w 968"/>
                <a:gd name="T69" fmla="*/ 537 h 10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68"/>
                <a:gd name="T106" fmla="*/ 0 h 1036"/>
                <a:gd name="T107" fmla="*/ 968 w 968"/>
                <a:gd name="T108" fmla="*/ 1036 h 10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68" h="1036">
                  <a:moveTo>
                    <a:pt x="417" y="537"/>
                  </a:moveTo>
                  <a:cubicBezTo>
                    <a:pt x="399" y="482"/>
                    <a:pt x="382" y="429"/>
                    <a:pt x="331" y="397"/>
                  </a:cubicBezTo>
                  <a:cubicBezTo>
                    <a:pt x="328" y="368"/>
                    <a:pt x="328" y="339"/>
                    <a:pt x="323" y="311"/>
                  </a:cubicBezTo>
                  <a:cubicBezTo>
                    <a:pt x="320" y="295"/>
                    <a:pt x="308" y="264"/>
                    <a:pt x="308" y="264"/>
                  </a:cubicBezTo>
                  <a:cubicBezTo>
                    <a:pt x="313" y="169"/>
                    <a:pt x="299" y="105"/>
                    <a:pt x="355" y="38"/>
                  </a:cubicBezTo>
                  <a:cubicBezTo>
                    <a:pt x="361" y="31"/>
                    <a:pt x="362" y="20"/>
                    <a:pt x="370" y="15"/>
                  </a:cubicBezTo>
                  <a:cubicBezTo>
                    <a:pt x="380" y="9"/>
                    <a:pt x="445" y="0"/>
                    <a:pt x="448" y="0"/>
                  </a:cubicBezTo>
                  <a:cubicBezTo>
                    <a:pt x="502" y="5"/>
                    <a:pt x="560" y="5"/>
                    <a:pt x="611" y="23"/>
                  </a:cubicBezTo>
                  <a:cubicBezTo>
                    <a:pt x="619" y="31"/>
                    <a:pt x="625" y="41"/>
                    <a:pt x="635" y="46"/>
                  </a:cubicBezTo>
                  <a:cubicBezTo>
                    <a:pt x="649" y="54"/>
                    <a:pt x="681" y="62"/>
                    <a:pt x="681" y="62"/>
                  </a:cubicBezTo>
                  <a:cubicBezTo>
                    <a:pt x="719" y="89"/>
                    <a:pt x="709" y="77"/>
                    <a:pt x="736" y="116"/>
                  </a:cubicBezTo>
                  <a:cubicBezTo>
                    <a:pt x="738" y="119"/>
                    <a:pt x="763" y="161"/>
                    <a:pt x="767" y="163"/>
                  </a:cubicBezTo>
                  <a:cubicBezTo>
                    <a:pt x="790" y="176"/>
                    <a:pt x="834" y="178"/>
                    <a:pt x="860" y="186"/>
                  </a:cubicBezTo>
                  <a:cubicBezTo>
                    <a:pt x="875" y="208"/>
                    <a:pt x="878" y="208"/>
                    <a:pt x="884" y="233"/>
                  </a:cubicBezTo>
                  <a:cubicBezTo>
                    <a:pt x="889" y="254"/>
                    <a:pt x="884" y="280"/>
                    <a:pt x="899" y="295"/>
                  </a:cubicBezTo>
                  <a:cubicBezTo>
                    <a:pt x="905" y="301"/>
                    <a:pt x="915" y="300"/>
                    <a:pt x="923" y="303"/>
                  </a:cubicBezTo>
                  <a:cubicBezTo>
                    <a:pt x="968" y="334"/>
                    <a:pt x="957" y="381"/>
                    <a:pt x="962" y="435"/>
                  </a:cubicBezTo>
                  <a:cubicBezTo>
                    <a:pt x="954" y="529"/>
                    <a:pt x="955" y="517"/>
                    <a:pt x="923" y="583"/>
                  </a:cubicBezTo>
                  <a:cubicBezTo>
                    <a:pt x="920" y="674"/>
                    <a:pt x="922" y="765"/>
                    <a:pt x="915" y="856"/>
                  </a:cubicBezTo>
                  <a:cubicBezTo>
                    <a:pt x="913" y="880"/>
                    <a:pt x="887" y="904"/>
                    <a:pt x="868" y="910"/>
                  </a:cubicBezTo>
                  <a:cubicBezTo>
                    <a:pt x="865" y="920"/>
                    <a:pt x="854" y="969"/>
                    <a:pt x="837" y="980"/>
                  </a:cubicBezTo>
                  <a:cubicBezTo>
                    <a:pt x="801" y="1003"/>
                    <a:pt x="731" y="1001"/>
                    <a:pt x="697" y="1004"/>
                  </a:cubicBezTo>
                  <a:cubicBezTo>
                    <a:pt x="518" y="1036"/>
                    <a:pt x="271" y="987"/>
                    <a:pt x="82" y="980"/>
                  </a:cubicBezTo>
                  <a:cubicBezTo>
                    <a:pt x="72" y="978"/>
                    <a:pt x="61" y="976"/>
                    <a:pt x="51" y="973"/>
                  </a:cubicBezTo>
                  <a:cubicBezTo>
                    <a:pt x="35" y="968"/>
                    <a:pt x="4" y="957"/>
                    <a:pt x="4" y="957"/>
                  </a:cubicBezTo>
                  <a:cubicBezTo>
                    <a:pt x="22" y="889"/>
                    <a:pt x="0" y="960"/>
                    <a:pt x="28" y="902"/>
                  </a:cubicBezTo>
                  <a:cubicBezTo>
                    <a:pt x="49" y="859"/>
                    <a:pt x="34" y="818"/>
                    <a:pt x="82" y="801"/>
                  </a:cubicBezTo>
                  <a:cubicBezTo>
                    <a:pt x="85" y="786"/>
                    <a:pt x="82" y="768"/>
                    <a:pt x="90" y="755"/>
                  </a:cubicBezTo>
                  <a:cubicBezTo>
                    <a:pt x="94" y="748"/>
                    <a:pt x="106" y="751"/>
                    <a:pt x="113" y="747"/>
                  </a:cubicBezTo>
                  <a:cubicBezTo>
                    <a:pt x="135" y="736"/>
                    <a:pt x="142" y="726"/>
                    <a:pt x="160" y="708"/>
                  </a:cubicBezTo>
                  <a:cubicBezTo>
                    <a:pt x="171" y="676"/>
                    <a:pt x="169" y="665"/>
                    <a:pt x="199" y="646"/>
                  </a:cubicBezTo>
                  <a:cubicBezTo>
                    <a:pt x="221" y="611"/>
                    <a:pt x="253" y="597"/>
                    <a:pt x="292" y="583"/>
                  </a:cubicBezTo>
                  <a:cubicBezTo>
                    <a:pt x="329" y="547"/>
                    <a:pt x="307" y="566"/>
                    <a:pt x="362" y="529"/>
                  </a:cubicBezTo>
                  <a:cubicBezTo>
                    <a:pt x="370" y="524"/>
                    <a:pt x="378" y="507"/>
                    <a:pt x="386" y="513"/>
                  </a:cubicBezTo>
                  <a:cubicBezTo>
                    <a:pt x="396" y="521"/>
                    <a:pt x="407" y="529"/>
                    <a:pt x="417" y="537"/>
                  </a:cubicBezTo>
                  <a:close/>
                </a:path>
              </a:pathLst>
            </a:custGeom>
            <a:solidFill>
              <a:schemeClr val="bg1">
                <a:alpha val="59999"/>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de-DE">
                <a:latin typeface="Arial"/>
                <a:cs typeface="Arial"/>
              </a:endParaRPr>
            </a:p>
          </p:txBody>
        </p:sp>
      </p:grpSp>
      <p:sp>
        <p:nvSpPr>
          <p:cNvPr id="9" name="Textplatzhalter 1"/>
          <p:cNvSpPr txBox="1">
            <a:spLocks/>
          </p:cNvSpPr>
          <p:nvPr/>
        </p:nvSpPr>
        <p:spPr>
          <a:xfrm>
            <a:off x="2244000" y="1080000"/>
            <a:ext cx="4848950" cy="540000"/>
          </a:xfrm>
          <a:prstGeom prst="rect">
            <a:avLst/>
          </a:prstGeom>
        </p:spPr>
        <p:txBody>
          <a:bodyPr vert="horz" lIns="0" tIns="45720" rIns="91440" bIns="45720" rtlCol="0" anchor="ctr"/>
          <a:lstStyle>
            <a:defPPr>
              <a:defRPr lang="de-DE"/>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de-DE" sz="2000" b="1" dirty="0">
                <a:solidFill>
                  <a:srgbClr val="FF9900"/>
                </a:solidFill>
                <a:latin typeface="Arial"/>
                <a:ea typeface="MS PGothic" charset="0"/>
                <a:cs typeface="Arial"/>
              </a:rPr>
              <a:t>Maintenance</a:t>
            </a:r>
            <a:endParaRPr lang="de-DE" sz="2000" b="1" dirty="0">
              <a:solidFill>
                <a:srgbClr val="FF9900"/>
              </a:solidFill>
              <a:latin typeface="Arial"/>
              <a:cs typeface="Arial"/>
            </a:endParaRPr>
          </a:p>
        </p:txBody>
      </p:sp>
      <p:sp>
        <p:nvSpPr>
          <p:cNvPr id="16" name="Rectangle 3"/>
          <p:cNvSpPr txBox="1">
            <a:spLocks noChangeArrowheads="1"/>
          </p:cNvSpPr>
          <p:nvPr/>
        </p:nvSpPr>
        <p:spPr>
          <a:xfrm>
            <a:off x="2244000" y="1664701"/>
            <a:ext cx="6096000" cy="3595687"/>
          </a:xfrm>
          <a:prstGeom prst="rect">
            <a:avLst/>
          </a:prstGeom>
          <a:noFill/>
        </p:spPr>
        <p:txBody>
          <a:bodyPr vert="horz" lIns="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90000"/>
              </a:lnSpc>
            </a:pPr>
            <a:r>
              <a:rPr lang="de-DE" sz="1800" b="1" dirty="0">
                <a:solidFill>
                  <a:schemeClr val="tx1"/>
                </a:solidFill>
                <a:latin typeface="Arial"/>
                <a:ea typeface="MS PGothic" charset="0"/>
                <a:cs typeface="Arial"/>
              </a:rPr>
              <a:t>User-</a:t>
            </a:r>
            <a:r>
              <a:rPr lang="de-DE" sz="1800" b="1" dirty="0" err="1">
                <a:solidFill>
                  <a:schemeClr val="tx1"/>
                </a:solidFill>
                <a:latin typeface="Arial"/>
                <a:ea typeface="MS PGothic" charset="0"/>
                <a:cs typeface="Arial"/>
              </a:rPr>
              <a:t>friendly</a:t>
            </a:r>
            <a:r>
              <a:rPr lang="de-DE" sz="1800" b="1" dirty="0">
                <a:solidFill>
                  <a:schemeClr val="tx1"/>
                </a:solidFill>
                <a:latin typeface="Arial"/>
                <a:ea typeface="MS PGothic" charset="0"/>
                <a:cs typeface="Arial"/>
              </a:rPr>
              <a:t> Maintenance</a:t>
            </a:r>
          </a:p>
          <a:p>
            <a:pPr algn="l">
              <a:lnSpc>
                <a:spcPct val="90000"/>
              </a:lnSpc>
            </a:pPr>
            <a:r>
              <a:rPr lang="de-DE" sz="800" b="1" dirty="0">
                <a:solidFill>
                  <a:schemeClr val="tx1"/>
                </a:solidFill>
                <a:latin typeface="Arial"/>
                <a:ea typeface="MS PGothic" charset="0"/>
                <a:cs typeface="Arial"/>
              </a:rPr>
              <a:t>  </a:t>
            </a:r>
          </a:p>
          <a:p>
            <a:pPr algn="l"/>
            <a:r>
              <a:rPr lang="de-DE" sz="1800" dirty="0">
                <a:solidFill>
                  <a:srgbClr val="FF9900"/>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Decreas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of</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maintenanc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costs</a:t>
            </a:r>
            <a:r>
              <a:rPr lang="de-DE" sz="1800" dirty="0">
                <a:solidFill>
                  <a:schemeClr val="tx1"/>
                </a:solidFill>
                <a:latin typeface="Arial"/>
                <a:ea typeface="MS PGothic" charset="0"/>
                <a:cs typeface="Arial"/>
              </a:rPr>
              <a:t> </a:t>
            </a:r>
          </a:p>
          <a:p>
            <a:pPr lvl="1" algn="l"/>
            <a:r>
              <a:rPr lang="de-DE" sz="1800" dirty="0">
                <a:solidFill>
                  <a:schemeClr val="bg1">
                    <a:lumMod val="50000"/>
                  </a:schemeClr>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Preventiv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maintenance</a:t>
            </a:r>
            <a:endParaRPr lang="de-DE" sz="1800" dirty="0">
              <a:solidFill>
                <a:schemeClr val="tx1"/>
              </a:solidFill>
              <a:latin typeface="Arial"/>
              <a:ea typeface="MS PGothic" charset="0"/>
              <a:cs typeface="Arial"/>
            </a:endParaRPr>
          </a:p>
          <a:p>
            <a:pPr lvl="1" algn="l"/>
            <a:r>
              <a:rPr lang="de-DE" sz="1800" dirty="0">
                <a:solidFill>
                  <a:srgbClr val="7F7F7F"/>
                </a:solidFill>
                <a:latin typeface="Arial" pitchFamily="34" charset="0"/>
              </a:rPr>
              <a:t>• </a:t>
            </a:r>
            <a:r>
              <a:rPr lang="de-DE" sz="1800" dirty="0" err="1">
                <a:solidFill>
                  <a:schemeClr val="tx1"/>
                </a:solidFill>
                <a:latin typeface="Arial"/>
                <a:ea typeface="MS PGothic" charset="0"/>
                <a:cs typeface="Arial"/>
              </a:rPr>
              <a:t>Less</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unplanned</a:t>
            </a:r>
            <a:r>
              <a:rPr lang="de-DE" sz="1800" dirty="0">
                <a:solidFill>
                  <a:schemeClr val="tx1"/>
                </a:solidFill>
                <a:latin typeface="Arial"/>
                <a:ea typeface="MS PGothic" charset="0"/>
                <a:cs typeface="Arial"/>
              </a:rPr>
              <a:t> break-</a:t>
            </a:r>
            <a:r>
              <a:rPr lang="de-DE" sz="1800" dirty="0" err="1">
                <a:solidFill>
                  <a:schemeClr val="tx1"/>
                </a:solidFill>
                <a:latin typeface="Arial"/>
                <a:ea typeface="MS PGothic" charset="0"/>
                <a:cs typeface="Arial"/>
              </a:rPr>
              <a:t>downs</a:t>
            </a:r>
            <a:endParaRPr lang="de-DE" sz="1800" dirty="0">
              <a:solidFill>
                <a:schemeClr val="tx1"/>
              </a:solidFill>
              <a:latin typeface="Arial"/>
              <a:ea typeface="MS PGothic" charset="0"/>
              <a:cs typeface="Arial"/>
            </a:endParaRPr>
          </a:p>
          <a:p>
            <a:pPr lvl="1" algn="l"/>
            <a:r>
              <a:rPr lang="de-DE" sz="800" dirty="0">
                <a:solidFill>
                  <a:schemeClr val="tx1"/>
                </a:solidFill>
                <a:latin typeface="Arial"/>
                <a:ea typeface="MS PGothic" charset="0"/>
                <a:cs typeface="Arial"/>
              </a:rPr>
              <a:t>  </a:t>
            </a:r>
          </a:p>
          <a:p>
            <a:pPr algn="l"/>
            <a:r>
              <a:rPr lang="de-DE" sz="1800" dirty="0">
                <a:solidFill>
                  <a:srgbClr val="FF9900"/>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Scalabl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diagnostics</a:t>
            </a:r>
            <a:endParaRPr lang="de-DE" sz="1800" dirty="0">
              <a:solidFill>
                <a:schemeClr val="tx1"/>
              </a:solidFill>
              <a:latin typeface="Arial"/>
              <a:ea typeface="MS PGothic" charset="0"/>
              <a:cs typeface="Arial"/>
            </a:endParaRPr>
          </a:p>
          <a:p>
            <a:pPr lvl="1" algn="l"/>
            <a:r>
              <a:rPr lang="de-DE" sz="1800" dirty="0">
                <a:solidFill>
                  <a:srgbClr val="7F7F7F"/>
                </a:solidFill>
                <a:latin typeface="Arial" pitchFamily="34" charset="0"/>
              </a:rPr>
              <a:t>•</a:t>
            </a:r>
            <a:r>
              <a:rPr lang="de-DE" sz="1800" dirty="0">
                <a:solidFill>
                  <a:schemeClr val="tx1"/>
                </a:solidFill>
                <a:latin typeface="Arial" pitchFamily="34" charset="0"/>
              </a:rPr>
              <a:t> </a:t>
            </a:r>
            <a:r>
              <a:rPr lang="de-DE" sz="1800" dirty="0">
                <a:solidFill>
                  <a:schemeClr val="tx1"/>
                </a:solidFill>
                <a:latin typeface="Arial"/>
                <a:ea typeface="MS PGothic" charset="0"/>
                <a:cs typeface="Arial"/>
              </a:rPr>
              <a:t>Information on </a:t>
            </a:r>
            <a:r>
              <a:rPr lang="de-DE" sz="1800" dirty="0" err="1">
                <a:solidFill>
                  <a:schemeClr val="tx1"/>
                </a:solidFill>
                <a:latin typeface="Arial"/>
                <a:ea typeface="MS PGothic" charset="0"/>
                <a:cs typeface="Arial"/>
              </a:rPr>
              <a:t>demand</a:t>
            </a:r>
            <a:endParaRPr lang="de-DE" sz="1800" dirty="0">
              <a:solidFill>
                <a:schemeClr val="tx1"/>
              </a:solidFill>
              <a:latin typeface="Arial"/>
              <a:ea typeface="MS PGothic" charset="0"/>
              <a:cs typeface="Arial"/>
            </a:endParaRPr>
          </a:p>
          <a:p>
            <a:pPr lvl="1" algn="l"/>
            <a:r>
              <a:rPr lang="de-DE" sz="1800" dirty="0">
                <a:solidFill>
                  <a:srgbClr val="7F7F7F"/>
                </a:solidFill>
                <a:latin typeface="Arial" pitchFamily="34" charset="0"/>
              </a:rPr>
              <a:t>• </a:t>
            </a:r>
            <a:r>
              <a:rPr lang="de-DE" sz="1800" dirty="0">
                <a:solidFill>
                  <a:schemeClr val="tx1"/>
                </a:solidFill>
                <a:latin typeface="Arial"/>
                <a:ea typeface="MS PGothic" charset="0"/>
                <a:cs typeface="Arial"/>
              </a:rPr>
              <a:t>Flexible </a:t>
            </a:r>
            <a:r>
              <a:rPr lang="de-DE" sz="1800" dirty="0" err="1">
                <a:solidFill>
                  <a:schemeClr val="tx1"/>
                </a:solidFill>
                <a:latin typeface="Arial"/>
                <a:ea typeface="MS PGothic" charset="0"/>
                <a:cs typeface="Arial"/>
              </a:rPr>
              <a:t>alarms</a:t>
            </a:r>
            <a:r>
              <a:rPr lang="de-DE" sz="1800" dirty="0">
                <a:solidFill>
                  <a:schemeClr val="tx1"/>
                </a:solidFill>
                <a:latin typeface="Arial"/>
                <a:ea typeface="MS PGothic" charset="0"/>
                <a:cs typeface="Arial"/>
              </a:rPr>
              <a:t> / </a:t>
            </a:r>
            <a:r>
              <a:rPr lang="de-DE" sz="1800" dirty="0" err="1">
                <a:solidFill>
                  <a:schemeClr val="tx1"/>
                </a:solidFill>
                <a:latin typeface="Arial"/>
                <a:ea typeface="MS PGothic" charset="0"/>
                <a:cs typeface="Arial"/>
              </a:rPr>
              <a:t>events</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management</a:t>
            </a:r>
            <a:endParaRPr lang="de-DE" sz="1800" dirty="0">
              <a:solidFill>
                <a:schemeClr val="tx1"/>
              </a:solidFill>
              <a:latin typeface="Arial"/>
              <a:ea typeface="MS PGothic" charset="0"/>
              <a:cs typeface="Arial"/>
            </a:endParaRPr>
          </a:p>
          <a:p>
            <a:pPr lvl="1" algn="l"/>
            <a:r>
              <a:rPr lang="de-DE" sz="800" dirty="0">
                <a:solidFill>
                  <a:schemeClr val="tx1"/>
                </a:solidFill>
                <a:latin typeface="Arial"/>
                <a:ea typeface="MS PGothic" charset="0"/>
                <a:cs typeface="Arial"/>
              </a:rPr>
              <a:t>  </a:t>
            </a:r>
          </a:p>
          <a:p>
            <a:pPr algn="l"/>
            <a:r>
              <a:rPr lang="de-DE" sz="1800" dirty="0">
                <a:solidFill>
                  <a:srgbClr val="FF9900"/>
                </a:solidFill>
                <a:latin typeface="Arial" pitchFamily="34" charset="0"/>
              </a:rPr>
              <a:t>•</a:t>
            </a:r>
            <a:r>
              <a:rPr lang="de-DE" sz="1800" dirty="0">
                <a:solidFill>
                  <a:schemeClr val="tx1"/>
                </a:solidFill>
                <a:latin typeface="Arial" pitchFamily="34" charset="0"/>
              </a:rPr>
              <a:t> </a:t>
            </a:r>
            <a:r>
              <a:rPr lang="de-DE" sz="1800" dirty="0">
                <a:solidFill>
                  <a:schemeClr val="tx1"/>
                </a:solidFill>
                <a:latin typeface="Arial"/>
                <a:ea typeface="MS PGothic" charset="0"/>
                <a:cs typeface="Arial"/>
              </a:rPr>
              <a:t>Easy </a:t>
            </a:r>
            <a:r>
              <a:rPr lang="de-DE" sz="1800" dirty="0" err="1">
                <a:solidFill>
                  <a:schemeClr val="tx1"/>
                </a:solidFill>
                <a:latin typeface="Arial"/>
                <a:ea typeface="MS PGothic" charset="0"/>
                <a:cs typeface="Arial"/>
              </a:rPr>
              <a:t>and</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cost-effective</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trouble</a:t>
            </a:r>
            <a:r>
              <a:rPr lang="de-DE" sz="1800" dirty="0">
                <a:solidFill>
                  <a:schemeClr val="tx1"/>
                </a:solidFill>
                <a:latin typeface="Arial"/>
                <a:ea typeface="MS PGothic" charset="0"/>
                <a:cs typeface="Arial"/>
              </a:rPr>
              <a:t>-shooting</a:t>
            </a:r>
          </a:p>
          <a:p>
            <a:pPr lvl="1" algn="l"/>
            <a:r>
              <a:rPr lang="de-DE" sz="1800" dirty="0">
                <a:solidFill>
                  <a:srgbClr val="7F7F7F"/>
                </a:solidFill>
                <a:latin typeface="Arial" pitchFamily="34" charset="0"/>
              </a:rPr>
              <a:t>•</a:t>
            </a:r>
            <a:r>
              <a:rPr lang="de-DE" sz="1800" dirty="0">
                <a:solidFill>
                  <a:schemeClr val="tx1"/>
                </a:solidFill>
                <a:latin typeface="Arial" pitchFamily="34" charset="0"/>
              </a:rPr>
              <a:t> </a:t>
            </a:r>
            <a:r>
              <a:rPr lang="de-DE" sz="1800" dirty="0" err="1">
                <a:solidFill>
                  <a:schemeClr val="tx1"/>
                </a:solidFill>
                <a:latin typeface="Arial"/>
                <a:ea typeface="MS PGothic" charset="0"/>
                <a:cs typeface="Arial"/>
              </a:rPr>
              <a:t>Reduction</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of</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replacement</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costs</a:t>
            </a:r>
            <a:endParaRPr lang="de-DE" sz="1800" dirty="0">
              <a:solidFill>
                <a:schemeClr val="tx1"/>
              </a:solidFill>
              <a:latin typeface="Arial"/>
              <a:ea typeface="MS PGothic" charset="0"/>
              <a:cs typeface="Arial"/>
            </a:endParaRPr>
          </a:p>
          <a:p>
            <a:pPr lvl="1" algn="l"/>
            <a:r>
              <a:rPr lang="de-DE" sz="1800" dirty="0">
                <a:solidFill>
                  <a:srgbClr val="7F7F7F"/>
                </a:solidFill>
                <a:latin typeface="Arial" pitchFamily="34" charset="0"/>
              </a:rPr>
              <a:t>• </a:t>
            </a:r>
            <a:r>
              <a:rPr lang="de-DE" sz="1800" dirty="0" err="1">
                <a:solidFill>
                  <a:schemeClr val="tx1"/>
                </a:solidFill>
                <a:latin typeface="Arial"/>
                <a:ea typeface="MS PGothic" charset="0"/>
                <a:cs typeface="Arial"/>
              </a:rPr>
              <a:t>Less</a:t>
            </a:r>
            <a:r>
              <a:rPr lang="de-DE" sz="1800" dirty="0">
                <a:solidFill>
                  <a:schemeClr val="tx1"/>
                </a:solidFill>
                <a:latin typeface="Arial"/>
                <a:ea typeface="MS PGothic" charset="0"/>
                <a:cs typeface="Arial"/>
              </a:rPr>
              <a:t> spare </a:t>
            </a:r>
            <a:r>
              <a:rPr lang="de-DE" sz="1800" dirty="0" err="1">
                <a:solidFill>
                  <a:schemeClr val="tx1"/>
                </a:solidFill>
                <a:latin typeface="Arial"/>
                <a:ea typeface="MS PGothic" charset="0"/>
                <a:cs typeface="Arial"/>
              </a:rPr>
              <a:t>parts</a:t>
            </a:r>
            <a:r>
              <a:rPr lang="de-DE" sz="1800" dirty="0">
                <a:solidFill>
                  <a:schemeClr val="tx1"/>
                </a:solidFill>
                <a:latin typeface="Arial"/>
                <a:ea typeface="MS PGothic" charset="0"/>
                <a:cs typeface="Arial"/>
              </a:rPr>
              <a:t> </a:t>
            </a:r>
            <a:r>
              <a:rPr lang="de-DE" sz="1800" dirty="0" err="1">
                <a:solidFill>
                  <a:schemeClr val="tx1"/>
                </a:solidFill>
                <a:latin typeface="Arial"/>
                <a:ea typeface="MS PGothic" charset="0"/>
                <a:cs typeface="Arial"/>
              </a:rPr>
              <a:t>needed</a:t>
            </a:r>
            <a:endParaRPr lang="de-DE" sz="1800" dirty="0">
              <a:solidFill>
                <a:schemeClr val="tx1"/>
              </a:solidFill>
              <a:latin typeface="Arial"/>
              <a:ea typeface="MS PGothic" charset="0"/>
              <a:cs typeface="Arial"/>
            </a:endParaRPr>
          </a:p>
        </p:txBody>
      </p:sp>
      <p:sp>
        <p:nvSpPr>
          <p:cNvPr id="4" name="Foliennummernplatzhalter 3"/>
          <p:cNvSpPr>
            <a:spLocks noGrp="1"/>
          </p:cNvSpPr>
          <p:nvPr>
            <p:ph type="sldNum" sz="quarter" idx="12"/>
          </p:nvPr>
        </p:nvSpPr>
        <p:spPr/>
        <p:txBody>
          <a:bodyPr/>
          <a:lstStyle/>
          <a:p>
            <a:fld id="{09AD34A2-EE0D-B74D-A5FF-4EBBE21DF867}" type="slidenum">
              <a:rPr lang="de-DE" smtClean="0"/>
              <a:t>14</a:t>
            </a:fld>
            <a:endParaRPr lang="de-DE"/>
          </a:p>
        </p:txBody>
      </p:sp>
      <p:sp>
        <p:nvSpPr>
          <p:cNvPr id="10" name="Rechteck 9"/>
          <p:cNvSpPr/>
          <p:nvPr/>
        </p:nvSpPr>
        <p:spPr>
          <a:xfrm>
            <a:off x="2244001" y="5637921"/>
            <a:ext cx="2787943" cy="369332"/>
          </a:xfrm>
          <a:prstGeom prst="rect">
            <a:avLst/>
          </a:prstGeom>
        </p:spPr>
        <p:txBody>
          <a:bodyPr wrap="none">
            <a:spAutoFit/>
          </a:bodyPr>
          <a:lstStyle/>
          <a:p>
            <a:r>
              <a:rPr lang="de-DE" b="1" dirty="0">
                <a:solidFill>
                  <a:srgbClr val="4BD651"/>
                </a:solidFill>
                <a:latin typeface="Arial"/>
                <a:ea typeface="MS PGothic" charset="0"/>
                <a:cs typeface="Arial"/>
                <a:sym typeface="Wingdings" panose="05000000000000000000" pitchFamily="2" charset="2"/>
              </a:rPr>
              <a:t></a:t>
            </a:r>
            <a:r>
              <a:rPr lang="de-DE" b="1" dirty="0">
                <a:latin typeface="Arial"/>
                <a:ea typeface="MS PGothic" charset="0"/>
                <a:cs typeface="Arial"/>
              </a:rPr>
              <a:t>  Solution </a:t>
            </a:r>
            <a:r>
              <a:rPr lang="de-DE" b="1" dirty="0" err="1">
                <a:latin typeface="Arial"/>
                <a:ea typeface="MS PGothic" charset="0"/>
                <a:cs typeface="Arial"/>
              </a:rPr>
              <a:t>with</a:t>
            </a:r>
            <a:r>
              <a:rPr lang="de-DE" b="1" dirty="0">
                <a:latin typeface="Arial"/>
                <a:ea typeface="MS PGothic" charset="0"/>
                <a:cs typeface="Arial"/>
              </a:rPr>
              <a:t> IO-Link</a:t>
            </a:r>
            <a:endParaRPr lang="de-DE" dirty="0"/>
          </a:p>
        </p:txBody>
      </p:sp>
    </p:spTree>
    <p:extLst>
      <p:ext uri="{BB962C8B-B14F-4D97-AF65-F5344CB8AC3E}">
        <p14:creationId xmlns:p14="http://schemas.microsoft.com/office/powerpoint/2010/main" val="19992085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de-DE" smtClean="0"/>
              <a:t>pw 12.2015</a:t>
            </a:r>
            <a:endParaRPr lang="de-DE" dirty="0"/>
          </a:p>
        </p:txBody>
      </p:sp>
      <p:sp>
        <p:nvSpPr>
          <p:cNvPr id="5" name="Slide Number Placeholder 4"/>
          <p:cNvSpPr>
            <a:spLocks noGrp="1"/>
          </p:cNvSpPr>
          <p:nvPr>
            <p:ph type="sldNum" sz="quarter" idx="12"/>
          </p:nvPr>
        </p:nvSpPr>
        <p:spPr/>
        <p:txBody>
          <a:bodyPr/>
          <a:lstStyle/>
          <a:p>
            <a:fld id="{09AD34A2-EE0D-B74D-A5FF-4EBBE21DF867}" type="slidenum">
              <a:rPr lang="de-DE" smtClean="0"/>
              <a:t>15</a:t>
            </a:fld>
            <a:endParaRPr lang="de-DE"/>
          </a:p>
        </p:txBody>
      </p:sp>
      <p:sp>
        <p:nvSpPr>
          <p:cNvPr id="6" name="TextBox 5"/>
          <p:cNvSpPr txBox="1"/>
          <p:nvPr/>
        </p:nvSpPr>
        <p:spPr>
          <a:xfrm>
            <a:off x="1784633" y="5520777"/>
            <a:ext cx="8268610" cy="707886"/>
          </a:xfrm>
          <a:prstGeom prst="rect">
            <a:avLst/>
          </a:prstGeom>
          <a:noFill/>
        </p:spPr>
        <p:txBody>
          <a:bodyPr wrap="none" rtlCol="0">
            <a:spAutoFit/>
          </a:bodyPr>
          <a:lstStyle/>
          <a:p>
            <a:r>
              <a:rPr lang="en-US" sz="2000" b="1" i="1" dirty="0" smtClean="0">
                <a:solidFill>
                  <a:srgbClr val="FF9900"/>
                </a:solidFill>
              </a:rPr>
              <a:t>AOIs (Add On Instructions) are available for quick integration of sensor data </a:t>
            </a:r>
          </a:p>
          <a:p>
            <a:r>
              <a:rPr lang="en-US" sz="2000" b="1" i="1" dirty="0" smtClean="0">
                <a:solidFill>
                  <a:srgbClr val="FF9900"/>
                </a:solidFill>
              </a:rPr>
              <a:t>for Allen Bradley and Siemens PLC systems.</a:t>
            </a:r>
            <a:endParaRPr lang="en-US" sz="2000" b="1" i="1" dirty="0">
              <a:solidFill>
                <a:srgbClr val="FF9900"/>
              </a:solidFill>
            </a:endParaRPr>
          </a:p>
        </p:txBody>
      </p:sp>
      <p:sp>
        <p:nvSpPr>
          <p:cNvPr id="7" name="Rectangle 6"/>
          <p:cNvSpPr/>
          <p:nvPr/>
        </p:nvSpPr>
        <p:spPr>
          <a:xfrm>
            <a:off x="2505867" y="1240797"/>
            <a:ext cx="7102778" cy="461665"/>
          </a:xfrm>
          <a:prstGeom prst="rect">
            <a:avLst/>
          </a:prstGeom>
        </p:spPr>
        <p:txBody>
          <a:bodyPr wrap="none">
            <a:spAutoFit/>
          </a:bodyPr>
          <a:lstStyle/>
          <a:p>
            <a:r>
              <a:rPr lang="en-US" sz="2400" dirty="0" smtClean="0">
                <a:latin typeface="Calibri" panose="020F0502020204030204" pitchFamily="34" charset="0"/>
                <a:ea typeface="Calibri" panose="020F0502020204030204" pitchFamily="34" charset="0"/>
              </a:rPr>
              <a:t>How is this information integrated into the PLC world?</a:t>
            </a:r>
            <a:endParaRPr lang="en-US" sz="2400"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8957" y="2250747"/>
            <a:ext cx="5916598" cy="2635124"/>
          </a:xfrm>
          <a:prstGeom prst="rect">
            <a:avLst/>
          </a:prstGeom>
        </p:spPr>
      </p:pic>
    </p:spTree>
    <p:extLst>
      <p:ext uri="{BB962C8B-B14F-4D97-AF65-F5344CB8AC3E}">
        <p14:creationId xmlns:p14="http://schemas.microsoft.com/office/powerpoint/2010/main" val="5718335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1524000" y="6680235"/>
            <a:ext cx="9144000" cy="1800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000" dirty="0">
              <a:solidFill>
                <a:srgbClr val="262626"/>
              </a:solidFill>
              <a:latin typeface="Arial"/>
              <a:cs typeface="Arial"/>
            </a:endParaRPr>
          </a:p>
        </p:txBody>
      </p:sp>
      <p:sp>
        <p:nvSpPr>
          <p:cNvPr id="9" name="Textplatzhalter 1"/>
          <p:cNvSpPr txBox="1">
            <a:spLocks/>
          </p:cNvSpPr>
          <p:nvPr/>
        </p:nvSpPr>
        <p:spPr>
          <a:xfrm>
            <a:off x="2244000" y="1080000"/>
            <a:ext cx="6718300" cy="540000"/>
          </a:xfrm>
          <a:prstGeom prst="rect">
            <a:avLst/>
          </a:prstGeom>
        </p:spPr>
        <p:txBody>
          <a:bodyPr vert="horz" lIns="0" tIns="45720" rIns="91440" bIns="45720" rtlCol="0" anchor="ctr"/>
          <a:lstStyle>
            <a:defPPr>
              <a:defRPr lang="de-DE"/>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buClr>
                <a:srgbClr val="FF9900"/>
              </a:buClr>
            </a:pPr>
            <a:r>
              <a:rPr lang="en-US" sz="2000" b="1" dirty="0">
                <a:solidFill>
                  <a:srgbClr val="FF9900"/>
                </a:solidFill>
                <a:latin typeface="Arial"/>
                <a:cs typeface="Arial"/>
              </a:rPr>
              <a:t>IO-Link Online-Parametrizing Tools for PC</a:t>
            </a:r>
          </a:p>
        </p:txBody>
      </p:sp>
      <p:sp>
        <p:nvSpPr>
          <p:cNvPr id="28" name="Rechteck 27"/>
          <p:cNvSpPr/>
          <p:nvPr/>
        </p:nvSpPr>
        <p:spPr>
          <a:xfrm>
            <a:off x="1524000" y="1"/>
            <a:ext cx="9144000" cy="985319"/>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Rechteck 1"/>
          <p:cNvSpPr/>
          <p:nvPr/>
        </p:nvSpPr>
        <p:spPr>
          <a:xfrm>
            <a:off x="4881603" y="6643741"/>
            <a:ext cx="3060000" cy="246221"/>
          </a:xfrm>
          <a:prstGeom prst="rect">
            <a:avLst/>
          </a:prstGeom>
        </p:spPr>
        <p:txBody>
          <a:bodyPr wrap="square">
            <a:spAutoFit/>
          </a:bodyPr>
          <a:lstStyle/>
          <a:p>
            <a:pPr algn="ctr"/>
            <a:r>
              <a:rPr lang="de-DE" sz="1000" dirty="0">
                <a:solidFill>
                  <a:schemeClr val="tx1">
                    <a:lumMod val="50000"/>
                    <a:lumOff val="50000"/>
                  </a:schemeClr>
                </a:solidFill>
                <a:latin typeface="Arial"/>
                <a:cs typeface="Arial"/>
              </a:rPr>
              <a:t>IO-Link Basics, Technology </a:t>
            </a:r>
            <a:r>
              <a:rPr lang="de-DE" sz="1000" dirty="0" err="1">
                <a:solidFill>
                  <a:schemeClr val="tx1">
                    <a:lumMod val="50000"/>
                    <a:lumOff val="50000"/>
                  </a:schemeClr>
                </a:solidFill>
                <a:latin typeface="Arial"/>
                <a:cs typeface="Arial"/>
              </a:rPr>
              <a:t>and</a:t>
            </a:r>
            <a:r>
              <a:rPr lang="de-DE" sz="1000" dirty="0">
                <a:solidFill>
                  <a:schemeClr val="tx1">
                    <a:lumMod val="50000"/>
                    <a:lumOff val="50000"/>
                  </a:schemeClr>
                </a:solidFill>
                <a:latin typeface="Arial"/>
                <a:cs typeface="Arial"/>
              </a:rPr>
              <a:t> Customer </a:t>
            </a:r>
            <a:r>
              <a:rPr lang="de-DE" sz="1000" dirty="0" err="1">
                <a:solidFill>
                  <a:schemeClr val="tx1">
                    <a:lumMod val="50000"/>
                    <a:lumOff val="50000"/>
                  </a:schemeClr>
                </a:solidFill>
                <a:latin typeface="Arial"/>
                <a:cs typeface="Arial"/>
              </a:rPr>
              <a:t>Benefits</a:t>
            </a:r>
            <a:endParaRPr lang="de-DE" sz="1000" dirty="0">
              <a:solidFill>
                <a:schemeClr val="tx1">
                  <a:lumMod val="50000"/>
                  <a:lumOff val="50000"/>
                </a:schemeClr>
              </a:solidFill>
              <a:latin typeface="Arial"/>
              <a:cs typeface="Arial"/>
            </a:endParaRPr>
          </a:p>
        </p:txBody>
      </p:sp>
      <p:pic>
        <p:nvPicPr>
          <p:cNvPr id="5" name="Bild 4" descr="Logo_IO-link_grau.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70213" y="6699778"/>
            <a:ext cx="650265" cy="135255"/>
          </a:xfrm>
          <a:prstGeom prst="rect">
            <a:avLst/>
          </a:prstGeom>
        </p:spPr>
      </p:pic>
      <p:sp>
        <p:nvSpPr>
          <p:cNvPr id="18" name="Rectangle 3"/>
          <p:cNvSpPr txBox="1">
            <a:spLocks noChangeArrowheads="1"/>
          </p:cNvSpPr>
          <p:nvPr/>
        </p:nvSpPr>
        <p:spPr bwMode="auto">
          <a:xfrm>
            <a:off x="7074365" y="1805879"/>
            <a:ext cx="2255908" cy="11827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lstStyle>
            <a:lvl1pPr>
              <a:defRPr sz="2600">
                <a:solidFill>
                  <a:srgbClr val="595959"/>
                </a:solidFill>
                <a:latin typeface="Trebuchet MS" charset="0"/>
                <a:ea typeface="MS PGothic" charset="0"/>
                <a:cs typeface="MS PGothic" charset="0"/>
              </a:defRPr>
            </a:lvl1pPr>
            <a:lvl2pPr>
              <a:defRPr sz="2400">
                <a:solidFill>
                  <a:srgbClr val="595959"/>
                </a:solidFill>
                <a:latin typeface="Trebuchet MS" charset="0"/>
                <a:ea typeface="MS PGothic" charset="0"/>
                <a:cs typeface="MS PGothic" charset="0"/>
              </a:defRPr>
            </a:lvl2pPr>
            <a:lvl3pPr>
              <a:defRPr sz="2400">
                <a:solidFill>
                  <a:srgbClr val="595959"/>
                </a:solidFill>
                <a:latin typeface="Trebuchet MS" charset="0"/>
                <a:ea typeface="MS PGothic" charset="0"/>
                <a:cs typeface="MS PGothic" charset="0"/>
              </a:defRPr>
            </a:lvl3pPr>
            <a:lvl4pPr>
              <a:defRPr sz="2400">
                <a:solidFill>
                  <a:srgbClr val="595959"/>
                </a:solidFill>
                <a:latin typeface="Trebuchet MS" charset="0"/>
                <a:ea typeface="MS PGothic" charset="0"/>
                <a:cs typeface="MS PGothic" charset="0"/>
              </a:defRPr>
            </a:lvl4pPr>
            <a:lvl5pPr>
              <a:defRPr sz="2400">
                <a:solidFill>
                  <a:srgbClr val="595959"/>
                </a:solidFill>
                <a:latin typeface="Trebuchet MS" charset="0"/>
                <a:ea typeface="MS PGothic" charset="0"/>
                <a:cs typeface="MS PGothic" charset="0"/>
              </a:defRPr>
            </a:lvl5pPr>
            <a:lvl6pPr marL="2514600" indent="-228600" algn="l" rtl="0" eaLnBrk="0" hangingPunct="0">
              <a:defRPr sz="2400">
                <a:solidFill>
                  <a:srgbClr val="595959"/>
                </a:solidFill>
                <a:latin typeface="Trebuchet MS" charset="0"/>
                <a:ea typeface="MS PGothic" charset="0"/>
                <a:cs typeface="MS PGothic" charset="0"/>
              </a:defRPr>
            </a:lvl6pPr>
            <a:lvl7pPr marL="2971800" indent="-228600" algn="l" rtl="0" eaLnBrk="0" hangingPunct="0">
              <a:defRPr sz="2400">
                <a:solidFill>
                  <a:srgbClr val="595959"/>
                </a:solidFill>
                <a:latin typeface="Trebuchet MS" charset="0"/>
                <a:ea typeface="MS PGothic" charset="0"/>
                <a:cs typeface="MS PGothic" charset="0"/>
              </a:defRPr>
            </a:lvl7pPr>
            <a:lvl8pPr marL="3429000" indent="-228600" algn="l" rtl="0" eaLnBrk="0" hangingPunct="0">
              <a:defRPr sz="2400">
                <a:solidFill>
                  <a:srgbClr val="595959"/>
                </a:solidFill>
                <a:latin typeface="Trebuchet MS" charset="0"/>
                <a:ea typeface="MS PGothic" charset="0"/>
                <a:cs typeface="MS PGothic" charset="0"/>
              </a:defRPr>
            </a:lvl8pPr>
            <a:lvl9pPr marL="3886200" indent="-228600" algn="l" rtl="0" eaLnBrk="0" hangingPunct="0">
              <a:defRPr sz="2400">
                <a:solidFill>
                  <a:srgbClr val="595959"/>
                </a:solidFill>
                <a:latin typeface="Trebuchet MS" charset="0"/>
                <a:ea typeface="MS PGothic" charset="0"/>
                <a:cs typeface="MS PGothic" charset="0"/>
              </a:defRPr>
            </a:lvl9pPr>
          </a:lstStyle>
          <a:p>
            <a:pPr>
              <a:lnSpc>
                <a:spcPct val="90000"/>
              </a:lnSpc>
              <a:spcAft>
                <a:spcPct val="20000"/>
              </a:spcAft>
              <a:buClr>
                <a:srgbClr val="FF9900"/>
              </a:buClr>
            </a:pPr>
            <a:r>
              <a:rPr lang="de-DE" sz="1800" b="1" dirty="0">
                <a:solidFill>
                  <a:schemeClr val="tx1"/>
                </a:solidFill>
                <a:latin typeface="Arial" charset="0"/>
              </a:rPr>
              <a:t>  QA0011</a:t>
            </a:r>
          </a:p>
          <a:p>
            <a:pPr>
              <a:lnSpc>
                <a:spcPct val="90000"/>
              </a:lnSpc>
              <a:spcAft>
                <a:spcPct val="20000"/>
              </a:spcAft>
              <a:buClr>
                <a:srgbClr val="FF9900"/>
              </a:buClr>
            </a:pPr>
            <a:r>
              <a:rPr lang="de-DE" sz="1200" dirty="0">
                <a:solidFill>
                  <a:srgbClr val="FF9900"/>
                </a:solidFill>
                <a:latin typeface="Arial" pitchFamily="34" charset="0"/>
              </a:rPr>
              <a:t>•</a:t>
            </a:r>
            <a:r>
              <a:rPr lang="de-DE" sz="1200" dirty="0">
                <a:solidFill>
                  <a:schemeClr val="tx1"/>
                </a:solidFill>
                <a:latin typeface="Arial" pitchFamily="34" charset="0"/>
              </a:rPr>
              <a:t> </a:t>
            </a:r>
            <a:r>
              <a:rPr lang="de-DE" sz="1200" dirty="0" err="1">
                <a:solidFill>
                  <a:schemeClr val="tx1"/>
                </a:solidFill>
                <a:latin typeface="Arial" charset="0"/>
              </a:rPr>
              <a:t>LineRecorder</a:t>
            </a:r>
            <a:r>
              <a:rPr lang="de-DE" sz="1200" dirty="0">
                <a:solidFill>
                  <a:schemeClr val="tx1"/>
                </a:solidFill>
                <a:latin typeface="Arial" charset="0"/>
              </a:rPr>
              <a:t> Device 1.0</a:t>
            </a:r>
          </a:p>
          <a:p>
            <a:pPr>
              <a:lnSpc>
                <a:spcPct val="90000"/>
              </a:lnSpc>
              <a:spcAft>
                <a:spcPct val="20000"/>
              </a:spcAft>
              <a:buClr>
                <a:srgbClr val="FF9900"/>
              </a:buClr>
            </a:pPr>
            <a:r>
              <a:rPr lang="de-DE" sz="1200" dirty="0">
                <a:solidFill>
                  <a:srgbClr val="FF9900"/>
                </a:solidFill>
                <a:latin typeface="Arial" pitchFamily="34" charset="0"/>
              </a:rPr>
              <a:t>•</a:t>
            </a:r>
            <a:r>
              <a:rPr lang="de-DE" sz="1200" dirty="0">
                <a:solidFill>
                  <a:schemeClr val="tx1"/>
                </a:solidFill>
                <a:latin typeface="Arial" pitchFamily="34" charset="0"/>
              </a:rPr>
              <a:t> </a:t>
            </a:r>
            <a:r>
              <a:rPr lang="de-DE" sz="1200" dirty="0">
                <a:solidFill>
                  <a:schemeClr val="tx1"/>
                </a:solidFill>
                <a:latin typeface="Arial" charset="0"/>
              </a:rPr>
              <a:t>Software </a:t>
            </a:r>
            <a:r>
              <a:rPr lang="de-DE" sz="1200" dirty="0" err="1">
                <a:solidFill>
                  <a:schemeClr val="tx1"/>
                </a:solidFill>
                <a:latin typeface="Arial" charset="0"/>
              </a:rPr>
              <a:t>for</a:t>
            </a:r>
            <a:r>
              <a:rPr lang="de-DE" sz="1200" dirty="0">
                <a:solidFill>
                  <a:schemeClr val="tx1"/>
                </a:solidFill>
                <a:latin typeface="Arial" charset="0"/>
              </a:rPr>
              <a:t> </a:t>
            </a:r>
            <a:r>
              <a:rPr lang="de-DE" sz="1200" dirty="0" err="1">
                <a:solidFill>
                  <a:schemeClr val="tx1"/>
                </a:solidFill>
                <a:latin typeface="Arial" charset="0"/>
              </a:rPr>
              <a:t>parametrization</a:t>
            </a:r>
            <a:r>
              <a:rPr lang="de-DE" sz="1200" dirty="0">
                <a:solidFill>
                  <a:schemeClr val="tx1"/>
                </a:solidFill>
                <a:latin typeface="Arial" charset="0"/>
              </a:rPr>
              <a:t/>
            </a:r>
            <a:br>
              <a:rPr lang="de-DE" sz="1200" dirty="0">
                <a:solidFill>
                  <a:schemeClr val="tx1"/>
                </a:solidFill>
                <a:latin typeface="Arial" charset="0"/>
              </a:rPr>
            </a:br>
            <a:r>
              <a:rPr lang="de-DE" sz="1200" dirty="0">
                <a:solidFill>
                  <a:schemeClr val="tx1"/>
                </a:solidFill>
                <a:latin typeface="Arial" charset="0"/>
              </a:rPr>
              <a:t>  </a:t>
            </a:r>
            <a:r>
              <a:rPr lang="de-DE" sz="1200" dirty="0" err="1">
                <a:solidFill>
                  <a:schemeClr val="tx1"/>
                </a:solidFill>
                <a:latin typeface="Arial" charset="0"/>
              </a:rPr>
              <a:t>and</a:t>
            </a:r>
            <a:r>
              <a:rPr lang="de-DE" sz="1200" dirty="0">
                <a:solidFill>
                  <a:schemeClr val="tx1"/>
                </a:solidFill>
                <a:latin typeface="Arial" charset="0"/>
              </a:rPr>
              <a:t> </a:t>
            </a:r>
            <a:r>
              <a:rPr lang="de-DE" sz="1200" dirty="0" err="1">
                <a:solidFill>
                  <a:schemeClr val="tx1"/>
                </a:solidFill>
                <a:latin typeface="Arial" charset="0"/>
              </a:rPr>
              <a:t>commissioning</a:t>
            </a:r>
            <a:r>
              <a:rPr lang="de-DE" sz="1200" dirty="0">
                <a:solidFill>
                  <a:schemeClr val="tx1"/>
                </a:solidFill>
                <a:latin typeface="Arial" charset="0"/>
              </a:rPr>
              <a:t> </a:t>
            </a:r>
            <a:r>
              <a:rPr lang="de-DE" sz="1200" dirty="0" err="1">
                <a:solidFill>
                  <a:schemeClr val="tx1"/>
                </a:solidFill>
                <a:latin typeface="Arial" charset="0"/>
              </a:rPr>
              <a:t>of</a:t>
            </a:r>
            <a:r>
              <a:rPr lang="de-DE" sz="1200" dirty="0">
                <a:solidFill>
                  <a:schemeClr val="tx1"/>
                </a:solidFill>
                <a:latin typeface="Arial" charset="0"/>
              </a:rPr>
              <a:t> IO-Link</a:t>
            </a:r>
            <a:br>
              <a:rPr lang="de-DE" sz="1200" dirty="0">
                <a:solidFill>
                  <a:schemeClr val="tx1"/>
                </a:solidFill>
                <a:latin typeface="Arial" charset="0"/>
              </a:rPr>
            </a:br>
            <a:r>
              <a:rPr lang="de-DE" sz="1200" dirty="0">
                <a:solidFill>
                  <a:schemeClr val="tx1"/>
                </a:solidFill>
                <a:latin typeface="Arial" charset="0"/>
              </a:rPr>
              <a:t>  </a:t>
            </a:r>
            <a:r>
              <a:rPr lang="de-DE" sz="1200" dirty="0" err="1">
                <a:solidFill>
                  <a:schemeClr val="tx1"/>
                </a:solidFill>
                <a:latin typeface="Arial" charset="0"/>
              </a:rPr>
              <a:t>sensors</a:t>
            </a:r>
            <a:r>
              <a:rPr lang="de-DE" sz="1200" dirty="0">
                <a:solidFill>
                  <a:schemeClr val="tx1"/>
                </a:solidFill>
                <a:latin typeface="Arial" charset="0"/>
              </a:rPr>
              <a:t> </a:t>
            </a:r>
            <a:r>
              <a:rPr lang="de-DE" sz="1200" dirty="0" err="1">
                <a:solidFill>
                  <a:schemeClr val="tx1"/>
                </a:solidFill>
                <a:latin typeface="Arial" charset="0"/>
              </a:rPr>
              <a:t>and</a:t>
            </a:r>
            <a:r>
              <a:rPr lang="de-DE" sz="1200" dirty="0">
                <a:solidFill>
                  <a:schemeClr val="tx1"/>
                </a:solidFill>
                <a:latin typeface="Arial" charset="0"/>
              </a:rPr>
              <a:t> </a:t>
            </a:r>
            <a:r>
              <a:rPr lang="de-DE" sz="1200" dirty="0" err="1">
                <a:solidFill>
                  <a:schemeClr val="tx1"/>
                </a:solidFill>
                <a:latin typeface="Arial" charset="0"/>
              </a:rPr>
              <a:t>masters</a:t>
            </a:r>
            <a:endParaRPr lang="de-DE" sz="1200" dirty="0">
              <a:solidFill>
                <a:schemeClr val="tx1"/>
              </a:solidFill>
              <a:latin typeface="Arial" charset="0"/>
            </a:endParaRPr>
          </a:p>
        </p:txBody>
      </p:sp>
      <p:pic>
        <p:nvPicPr>
          <p:cNvPr id="14" name="Bild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898580"/>
          </a:xfrm>
          <a:prstGeom prst="rect">
            <a:avLst/>
          </a:prstGeom>
        </p:spPr>
      </p:pic>
      <p:pic>
        <p:nvPicPr>
          <p:cNvPr id="3" name="Bild 2" descr="LRSoftwar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76169" y="1826439"/>
            <a:ext cx="957745" cy="802937"/>
          </a:xfrm>
          <a:prstGeom prst="rect">
            <a:avLst/>
          </a:prstGeom>
        </p:spPr>
      </p:pic>
      <p:sp>
        <p:nvSpPr>
          <p:cNvPr id="10" name="Foliennummernplatzhalter 9"/>
          <p:cNvSpPr>
            <a:spLocks noGrp="1"/>
          </p:cNvSpPr>
          <p:nvPr>
            <p:ph type="sldNum" sz="quarter" idx="12"/>
          </p:nvPr>
        </p:nvSpPr>
        <p:spPr/>
        <p:txBody>
          <a:bodyPr/>
          <a:lstStyle/>
          <a:p>
            <a:fld id="{09AD34A2-EE0D-B74D-A5FF-4EBBE21DF867}" type="slidenum">
              <a:rPr lang="de-DE" smtClean="0"/>
              <a:t>16</a:t>
            </a:fld>
            <a:endParaRPr lang="de-DE"/>
          </a:p>
        </p:txBody>
      </p:sp>
      <p:grpSp>
        <p:nvGrpSpPr>
          <p:cNvPr id="15" name="Gruppieren 14"/>
          <p:cNvGrpSpPr/>
          <p:nvPr/>
        </p:nvGrpSpPr>
        <p:grpSpPr>
          <a:xfrm>
            <a:off x="2246140" y="1745479"/>
            <a:ext cx="3379985" cy="2069125"/>
            <a:chOff x="664901" y="2229615"/>
            <a:chExt cx="7664932" cy="4213097"/>
          </a:xfrm>
        </p:grpSpPr>
        <p:pic>
          <p:nvPicPr>
            <p:cNvPr id="16" name="Grafik 15"/>
            <p:cNvPicPr>
              <a:picLocks noChangeAspect="1"/>
            </p:cNvPicPr>
            <p:nvPr/>
          </p:nvPicPr>
          <p:blipFill>
            <a:blip r:embed="rId5"/>
            <a:stretch>
              <a:fillRect/>
            </a:stretch>
          </p:blipFill>
          <p:spPr>
            <a:xfrm>
              <a:off x="5708008" y="4426865"/>
              <a:ext cx="2069886" cy="1164310"/>
            </a:xfrm>
            <a:prstGeom prst="rect">
              <a:avLst/>
            </a:prstGeom>
          </p:spPr>
        </p:pic>
        <p:pic>
          <p:nvPicPr>
            <p:cNvPr id="17" name="Grafik 16"/>
            <p:cNvPicPr>
              <a:picLocks noChangeAspect="1"/>
            </p:cNvPicPr>
            <p:nvPr/>
          </p:nvPicPr>
          <p:blipFill rotWithShape="1">
            <a:blip r:embed="rId6">
              <a:extLst>
                <a:ext uri="{28A0092B-C50C-407E-A947-70E740481C1C}">
                  <a14:useLocalDpi xmlns:a14="http://schemas.microsoft.com/office/drawing/2010/main" val="0"/>
                </a:ext>
              </a:extLst>
            </a:blip>
            <a:srcRect l="25842" t="17954" r="35215"/>
            <a:stretch/>
          </p:blipFill>
          <p:spPr>
            <a:xfrm>
              <a:off x="2008820" y="3403953"/>
              <a:ext cx="819130" cy="1725727"/>
            </a:xfrm>
            <a:prstGeom prst="rect">
              <a:avLst/>
            </a:prstGeom>
          </p:spPr>
        </p:pic>
        <p:pic>
          <p:nvPicPr>
            <p:cNvPr id="19" name="Picture 4" descr="https://projekt360-prd.ifm.com/responsive/large/content/gallery/productgroups/P_F_WH_W_200_0126.JPG?v=-170805845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90718" y="4853236"/>
              <a:ext cx="1202057" cy="120205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3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1663" y="2229615"/>
              <a:ext cx="1233037" cy="7985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1" name="Grafik 20"/>
            <p:cNvPicPr>
              <a:picLocks noChangeAspect="1"/>
            </p:cNvPicPr>
            <p:nvPr/>
          </p:nvPicPr>
          <p:blipFill rotWithShape="1">
            <a:blip r:embed="rId6">
              <a:extLst>
                <a:ext uri="{28A0092B-C50C-407E-A947-70E740481C1C}">
                  <a14:useLocalDpi xmlns:a14="http://schemas.microsoft.com/office/drawing/2010/main" val="0"/>
                </a:ext>
              </a:extLst>
            </a:blip>
            <a:srcRect l="25842" t="17954" r="35215"/>
            <a:stretch/>
          </p:blipFill>
          <p:spPr>
            <a:xfrm>
              <a:off x="3089938" y="3467100"/>
              <a:ext cx="865026" cy="1822421"/>
            </a:xfrm>
            <a:prstGeom prst="rect">
              <a:avLst/>
            </a:prstGeom>
          </p:spPr>
        </p:pic>
        <p:pic>
          <p:nvPicPr>
            <p:cNvPr id="22" name="Grafik 21"/>
            <p:cNvPicPr>
              <a:picLocks noChangeAspect="1"/>
            </p:cNvPicPr>
            <p:nvPr/>
          </p:nvPicPr>
          <p:blipFill rotWithShape="1">
            <a:blip r:embed="rId6">
              <a:extLst>
                <a:ext uri="{28A0092B-C50C-407E-A947-70E740481C1C}">
                  <a14:useLocalDpi xmlns:a14="http://schemas.microsoft.com/office/drawing/2010/main" val="0"/>
                </a:ext>
              </a:extLst>
            </a:blip>
            <a:srcRect l="25842" t="17954" r="35215"/>
            <a:stretch/>
          </p:blipFill>
          <p:spPr>
            <a:xfrm>
              <a:off x="4199716" y="3527677"/>
              <a:ext cx="904309" cy="1905182"/>
            </a:xfrm>
            <a:prstGeom prst="rect">
              <a:avLst/>
            </a:prstGeom>
          </p:spPr>
        </p:pic>
        <p:sp>
          <p:nvSpPr>
            <p:cNvPr id="23" name="Freihandform 22"/>
            <p:cNvSpPr/>
            <p:nvPr/>
          </p:nvSpPr>
          <p:spPr>
            <a:xfrm>
              <a:off x="2551655" y="3812488"/>
              <a:ext cx="898388" cy="159858"/>
            </a:xfrm>
            <a:custGeom>
              <a:avLst/>
              <a:gdLst>
                <a:gd name="connsiteX0" fmla="*/ 1733550 w 1733550"/>
                <a:gd name="connsiteY0" fmla="*/ 857250 h 962025"/>
                <a:gd name="connsiteX1" fmla="*/ 1612900 w 1733550"/>
                <a:gd name="connsiteY1" fmla="*/ 962025 h 962025"/>
                <a:gd name="connsiteX2" fmla="*/ 0 w 1733550"/>
                <a:gd name="connsiteY2" fmla="*/ 838200 h 962025"/>
                <a:gd name="connsiteX3" fmla="*/ 666750 w 1733550"/>
                <a:gd name="connsiteY3" fmla="*/ 323850 h 962025"/>
                <a:gd name="connsiteX4" fmla="*/ 666750 w 1733550"/>
                <a:gd name="connsiteY4" fmla="*/ 0 h 962025"/>
                <a:gd name="connsiteX0" fmla="*/ 1756203 w 1756203"/>
                <a:gd name="connsiteY0" fmla="*/ 857250 h 962025"/>
                <a:gd name="connsiteX1" fmla="*/ 1635553 w 1756203"/>
                <a:gd name="connsiteY1" fmla="*/ 962025 h 962025"/>
                <a:gd name="connsiteX2" fmla="*/ 22653 w 1756203"/>
                <a:gd name="connsiteY2" fmla="*/ 838200 h 962025"/>
                <a:gd name="connsiteX3" fmla="*/ 689403 w 1756203"/>
                <a:gd name="connsiteY3" fmla="*/ 323850 h 962025"/>
                <a:gd name="connsiteX4" fmla="*/ 689403 w 1756203"/>
                <a:gd name="connsiteY4" fmla="*/ 0 h 962025"/>
                <a:gd name="connsiteX0" fmla="*/ 1756203 w 1756203"/>
                <a:gd name="connsiteY0" fmla="*/ 857250 h 962025"/>
                <a:gd name="connsiteX1" fmla="*/ 1635553 w 1756203"/>
                <a:gd name="connsiteY1" fmla="*/ 962025 h 962025"/>
                <a:gd name="connsiteX2" fmla="*/ 22653 w 1756203"/>
                <a:gd name="connsiteY2" fmla="*/ 838200 h 962025"/>
                <a:gd name="connsiteX3" fmla="*/ 689403 w 1756203"/>
                <a:gd name="connsiteY3" fmla="*/ 323850 h 962025"/>
                <a:gd name="connsiteX4" fmla="*/ 689403 w 1756203"/>
                <a:gd name="connsiteY4" fmla="*/ 0 h 962025"/>
                <a:gd name="connsiteX0" fmla="*/ 1756203 w 1791674"/>
                <a:gd name="connsiteY0" fmla="*/ 857250 h 962125"/>
                <a:gd name="connsiteX1" fmla="*/ 1635553 w 1791674"/>
                <a:gd name="connsiteY1" fmla="*/ 962025 h 962125"/>
                <a:gd name="connsiteX2" fmla="*/ 22653 w 1791674"/>
                <a:gd name="connsiteY2" fmla="*/ 838200 h 962125"/>
                <a:gd name="connsiteX3" fmla="*/ 689403 w 1791674"/>
                <a:gd name="connsiteY3" fmla="*/ 323850 h 962125"/>
                <a:gd name="connsiteX4" fmla="*/ 689403 w 1791674"/>
                <a:gd name="connsiteY4" fmla="*/ 0 h 962125"/>
                <a:gd name="connsiteX0" fmla="*/ 1758028 w 1793499"/>
                <a:gd name="connsiteY0" fmla="*/ 857250 h 962125"/>
                <a:gd name="connsiteX1" fmla="*/ 1637378 w 1793499"/>
                <a:gd name="connsiteY1" fmla="*/ 962025 h 962125"/>
                <a:gd name="connsiteX2" fmla="*/ 24478 w 1793499"/>
                <a:gd name="connsiteY2" fmla="*/ 838200 h 962125"/>
                <a:gd name="connsiteX3" fmla="*/ 665034 w 1793499"/>
                <a:gd name="connsiteY3" fmla="*/ 352425 h 962125"/>
                <a:gd name="connsiteX4" fmla="*/ 691228 w 1793499"/>
                <a:gd name="connsiteY4" fmla="*/ 0 h 962125"/>
                <a:gd name="connsiteX0" fmla="*/ 1757134 w 1792605"/>
                <a:gd name="connsiteY0" fmla="*/ 857250 h 962125"/>
                <a:gd name="connsiteX1" fmla="*/ 1636484 w 1792605"/>
                <a:gd name="connsiteY1" fmla="*/ 962025 h 962125"/>
                <a:gd name="connsiteX2" fmla="*/ 23584 w 1792605"/>
                <a:gd name="connsiteY2" fmla="*/ 838200 h 962125"/>
                <a:gd name="connsiteX3" fmla="*/ 664140 w 1792605"/>
                <a:gd name="connsiteY3" fmla="*/ 352425 h 962125"/>
                <a:gd name="connsiteX4" fmla="*/ 690334 w 1792605"/>
                <a:gd name="connsiteY4" fmla="*/ 0 h 962125"/>
                <a:gd name="connsiteX0" fmla="*/ 1756629 w 1792100"/>
                <a:gd name="connsiteY0" fmla="*/ 857250 h 962125"/>
                <a:gd name="connsiteX1" fmla="*/ 1635979 w 1792100"/>
                <a:gd name="connsiteY1" fmla="*/ 962025 h 962125"/>
                <a:gd name="connsiteX2" fmla="*/ 23079 w 1792100"/>
                <a:gd name="connsiteY2" fmla="*/ 838200 h 962125"/>
                <a:gd name="connsiteX3" fmla="*/ 663635 w 1792100"/>
                <a:gd name="connsiteY3" fmla="*/ 352425 h 962125"/>
                <a:gd name="connsiteX4" fmla="*/ 689829 w 1792100"/>
                <a:gd name="connsiteY4" fmla="*/ 0 h 962125"/>
                <a:gd name="connsiteX0" fmla="*/ 1757796 w 1793267"/>
                <a:gd name="connsiteY0" fmla="*/ 857250 h 962125"/>
                <a:gd name="connsiteX1" fmla="*/ 1637146 w 1793267"/>
                <a:gd name="connsiteY1" fmla="*/ 962025 h 962125"/>
                <a:gd name="connsiteX2" fmla="*/ 24246 w 1793267"/>
                <a:gd name="connsiteY2" fmla="*/ 838200 h 962125"/>
                <a:gd name="connsiteX3" fmla="*/ 664802 w 1793267"/>
                <a:gd name="connsiteY3" fmla="*/ 352425 h 962125"/>
                <a:gd name="connsiteX4" fmla="*/ 690996 w 1793267"/>
                <a:gd name="connsiteY4" fmla="*/ 0 h 962125"/>
                <a:gd name="connsiteX0" fmla="*/ 1759182 w 1794653"/>
                <a:gd name="connsiteY0" fmla="*/ 857250 h 962125"/>
                <a:gd name="connsiteX1" fmla="*/ 1638532 w 1794653"/>
                <a:gd name="connsiteY1" fmla="*/ 962025 h 962125"/>
                <a:gd name="connsiteX2" fmla="*/ 25632 w 1794653"/>
                <a:gd name="connsiteY2" fmla="*/ 838200 h 962125"/>
                <a:gd name="connsiteX3" fmla="*/ 647138 w 1794653"/>
                <a:gd name="connsiteY3" fmla="*/ 366712 h 962125"/>
                <a:gd name="connsiteX4" fmla="*/ 692382 w 1794653"/>
                <a:gd name="connsiteY4" fmla="*/ 0 h 962125"/>
                <a:gd name="connsiteX0" fmla="*/ 1758482 w 1793953"/>
                <a:gd name="connsiteY0" fmla="*/ 857250 h 962125"/>
                <a:gd name="connsiteX1" fmla="*/ 1637832 w 1793953"/>
                <a:gd name="connsiteY1" fmla="*/ 962025 h 962125"/>
                <a:gd name="connsiteX2" fmla="*/ 24932 w 1793953"/>
                <a:gd name="connsiteY2" fmla="*/ 838200 h 962125"/>
                <a:gd name="connsiteX3" fmla="*/ 655963 w 1793953"/>
                <a:gd name="connsiteY3" fmla="*/ 359568 h 962125"/>
                <a:gd name="connsiteX4" fmla="*/ 691682 w 1793953"/>
                <a:gd name="connsiteY4" fmla="*/ 0 h 962125"/>
                <a:gd name="connsiteX0" fmla="*/ 1758414 w 1793885"/>
                <a:gd name="connsiteY0" fmla="*/ 857250 h 962125"/>
                <a:gd name="connsiteX1" fmla="*/ 1637764 w 1793885"/>
                <a:gd name="connsiteY1" fmla="*/ 962025 h 962125"/>
                <a:gd name="connsiteX2" fmla="*/ 24864 w 1793885"/>
                <a:gd name="connsiteY2" fmla="*/ 838200 h 962125"/>
                <a:gd name="connsiteX3" fmla="*/ 655895 w 1793885"/>
                <a:gd name="connsiteY3" fmla="*/ 359568 h 962125"/>
                <a:gd name="connsiteX4" fmla="*/ 691614 w 1793885"/>
                <a:gd name="connsiteY4" fmla="*/ 0 h 962125"/>
                <a:gd name="connsiteX0" fmla="*/ 1758760 w 1794231"/>
                <a:gd name="connsiteY0" fmla="*/ 857250 h 962125"/>
                <a:gd name="connsiteX1" fmla="*/ 1638110 w 1794231"/>
                <a:gd name="connsiteY1" fmla="*/ 962025 h 962125"/>
                <a:gd name="connsiteX2" fmla="*/ 25210 w 1794231"/>
                <a:gd name="connsiteY2" fmla="*/ 838200 h 962125"/>
                <a:gd name="connsiteX3" fmla="*/ 651478 w 1794231"/>
                <a:gd name="connsiteY3" fmla="*/ 359568 h 962125"/>
                <a:gd name="connsiteX4" fmla="*/ 691960 w 1794231"/>
                <a:gd name="connsiteY4" fmla="*/ 0 h 962125"/>
                <a:gd name="connsiteX0" fmla="*/ 1759941 w 1795412"/>
                <a:gd name="connsiteY0" fmla="*/ 857250 h 962125"/>
                <a:gd name="connsiteX1" fmla="*/ 1639291 w 1795412"/>
                <a:gd name="connsiteY1" fmla="*/ 962025 h 962125"/>
                <a:gd name="connsiteX2" fmla="*/ 26391 w 1795412"/>
                <a:gd name="connsiteY2" fmla="*/ 838200 h 962125"/>
                <a:gd name="connsiteX3" fmla="*/ 652659 w 1795412"/>
                <a:gd name="connsiteY3" fmla="*/ 359568 h 962125"/>
                <a:gd name="connsiteX4" fmla="*/ 693141 w 1795412"/>
                <a:gd name="connsiteY4" fmla="*/ 0 h 962125"/>
                <a:gd name="connsiteX0" fmla="*/ 1759941 w 1795412"/>
                <a:gd name="connsiteY0" fmla="*/ 857250 h 962125"/>
                <a:gd name="connsiteX1" fmla="*/ 1639291 w 1795412"/>
                <a:gd name="connsiteY1" fmla="*/ 962025 h 962125"/>
                <a:gd name="connsiteX2" fmla="*/ 26391 w 1795412"/>
                <a:gd name="connsiteY2" fmla="*/ 838200 h 962125"/>
                <a:gd name="connsiteX3" fmla="*/ 652659 w 1795412"/>
                <a:gd name="connsiteY3" fmla="*/ 359568 h 962125"/>
                <a:gd name="connsiteX4" fmla="*/ 693141 w 1795412"/>
                <a:gd name="connsiteY4" fmla="*/ 0 h 962125"/>
                <a:gd name="connsiteX0" fmla="*/ 1759554 w 1795025"/>
                <a:gd name="connsiteY0" fmla="*/ 857250 h 962125"/>
                <a:gd name="connsiteX1" fmla="*/ 1638904 w 1795025"/>
                <a:gd name="connsiteY1" fmla="*/ 962025 h 962125"/>
                <a:gd name="connsiteX2" fmla="*/ 26004 w 1795025"/>
                <a:gd name="connsiteY2" fmla="*/ 838200 h 962125"/>
                <a:gd name="connsiteX3" fmla="*/ 652272 w 1795025"/>
                <a:gd name="connsiteY3" fmla="*/ 359568 h 962125"/>
                <a:gd name="connsiteX4" fmla="*/ 692754 w 1795025"/>
                <a:gd name="connsiteY4" fmla="*/ 0 h 962125"/>
                <a:gd name="connsiteX0" fmla="*/ 1696629 w 1727609"/>
                <a:gd name="connsiteY0" fmla="*/ 857250 h 962278"/>
                <a:gd name="connsiteX1" fmla="*/ 1575979 w 1727609"/>
                <a:gd name="connsiteY1" fmla="*/ 962025 h 962278"/>
                <a:gd name="connsiteX2" fmla="*/ 27373 w 1727609"/>
                <a:gd name="connsiteY2" fmla="*/ 826294 h 962278"/>
                <a:gd name="connsiteX3" fmla="*/ 589347 w 1727609"/>
                <a:gd name="connsiteY3" fmla="*/ 359568 h 962278"/>
                <a:gd name="connsiteX4" fmla="*/ 629829 w 1727609"/>
                <a:gd name="connsiteY4" fmla="*/ 0 h 962278"/>
                <a:gd name="connsiteX0" fmla="*/ 1704087 w 1735067"/>
                <a:gd name="connsiteY0" fmla="*/ 857250 h 962278"/>
                <a:gd name="connsiteX1" fmla="*/ 1583437 w 1735067"/>
                <a:gd name="connsiteY1" fmla="*/ 962025 h 962278"/>
                <a:gd name="connsiteX2" fmla="*/ 34831 w 1735067"/>
                <a:gd name="connsiteY2" fmla="*/ 826294 h 962278"/>
                <a:gd name="connsiteX3" fmla="*/ 596805 w 1735067"/>
                <a:gd name="connsiteY3" fmla="*/ 359568 h 962278"/>
                <a:gd name="connsiteX4" fmla="*/ 637287 w 1735067"/>
                <a:gd name="connsiteY4" fmla="*/ 0 h 962278"/>
                <a:gd name="connsiteX0" fmla="*/ 1685946 w 1716926"/>
                <a:gd name="connsiteY0" fmla="*/ 857250 h 962278"/>
                <a:gd name="connsiteX1" fmla="*/ 1565296 w 1716926"/>
                <a:gd name="connsiteY1" fmla="*/ 962025 h 962278"/>
                <a:gd name="connsiteX2" fmla="*/ 16690 w 1716926"/>
                <a:gd name="connsiteY2" fmla="*/ 826294 h 962278"/>
                <a:gd name="connsiteX3" fmla="*/ 578664 w 1716926"/>
                <a:gd name="connsiteY3" fmla="*/ 359568 h 962278"/>
                <a:gd name="connsiteX4" fmla="*/ 619146 w 1716926"/>
                <a:gd name="connsiteY4" fmla="*/ 0 h 962278"/>
                <a:gd name="connsiteX0" fmla="*/ 1716282 w 1749421"/>
                <a:gd name="connsiteY0" fmla="*/ 857250 h 962065"/>
                <a:gd name="connsiteX1" fmla="*/ 1595632 w 1749421"/>
                <a:gd name="connsiteY1" fmla="*/ 962025 h 962065"/>
                <a:gd name="connsiteX2" fmla="*/ 16070 w 1749421"/>
                <a:gd name="connsiteY2" fmla="*/ 845344 h 962065"/>
                <a:gd name="connsiteX3" fmla="*/ 609000 w 1749421"/>
                <a:gd name="connsiteY3" fmla="*/ 359568 h 962065"/>
                <a:gd name="connsiteX4" fmla="*/ 649482 w 1749421"/>
                <a:gd name="connsiteY4" fmla="*/ 0 h 962065"/>
                <a:gd name="connsiteX0" fmla="*/ 1716716 w 1749855"/>
                <a:gd name="connsiteY0" fmla="*/ 857250 h 962065"/>
                <a:gd name="connsiteX1" fmla="*/ 1596066 w 1749855"/>
                <a:gd name="connsiteY1" fmla="*/ 962025 h 962065"/>
                <a:gd name="connsiteX2" fmla="*/ 16504 w 1749855"/>
                <a:gd name="connsiteY2" fmla="*/ 845344 h 962065"/>
                <a:gd name="connsiteX3" fmla="*/ 609434 w 1749855"/>
                <a:gd name="connsiteY3" fmla="*/ 359568 h 962065"/>
                <a:gd name="connsiteX4" fmla="*/ 649916 w 1749855"/>
                <a:gd name="connsiteY4" fmla="*/ 0 h 962065"/>
                <a:gd name="connsiteX0" fmla="*/ 1716443 w 1749582"/>
                <a:gd name="connsiteY0" fmla="*/ 857250 h 962065"/>
                <a:gd name="connsiteX1" fmla="*/ 1595793 w 1749582"/>
                <a:gd name="connsiteY1" fmla="*/ 962025 h 962065"/>
                <a:gd name="connsiteX2" fmla="*/ 16231 w 1749582"/>
                <a:gd name="connsiteY2" fmla="*/ 845344 h 962065"/>
                <a:gd name="connsiteX3" fmla="*/ 609161 w 1749582"/>
                <a:gd name="connsiteY3" fmla="*/ 359568 h 962065"/>
                <a:gd name="connsiteX4" fmla="*/ 649643 w 1749582"/>
                <a:gd name="connsiteY4" fmla="*/ 0 h 962065"/>
                <a:gd name="connsiteX0" fmla="*/ 1702509 w 1735648"/>
                <a:gd name="connsiteY0" fmla="*/ 857250 h 962065"/>
                <a:gd name="connsiteX1" fmla="*/ 1581859 w 1735648"/>
                <a:gd name="connsiteY1" fmla="*/ 962025 h 962065"/>
                <a:gd name="connsiteX2" fmla="*/ 2297 w 1735648"/>
                <a:gd name="connsiteY2" fmla="*/ 845344 h 962065"/>
                <a:gd name="connsiteX3" fmla="*/ 595227 w 1735648"/>
                <a:gd name="connsiteY3" fmla="*/ 359568 h 962065"/>
                <a:gd name="connsiteX4" fmla="*/ 635709 w 1735648"/>
                <a:gd name="connsiteY4" fmla="*/ 0 h 962065"/>
                <a:gd name="connsiteX0" fmla="*/ 1702509 w 1735648"/>
                <a:gd name="connsiteY0" fmla="*/ 857250 h 962065"/>
                <a:gd name="connsiteX1" fmla="*/ 1581859 w 1735648"/>
                <a:gd name="connsiteY1" fmla="*/ 962025 h 962065"/>
                <a:gd name="connsiteX2" fmla="*/ 2297 w 1735648"/>
                <a:gd name="connsiteY2" fmla="*/ 845344 h 962065"/>
                <a:gd name="connsiteX3" fmla="*/ 595227 w 1735648"/>
                <a:gd name="connsiteY3" fmla="*/ 359568 h 962065"/>
                <a:gd name="connsiteX4" fmla="*/ 635709 w 1735648"/>
                <a:gd name="connsiteY4" fmla="*/ 0 h 962065"/>
                <a:gd name="connsiteX0" fmla="*/ 1681171 w 1712815"/>
                <a:gd name="connsiteY0" fmla="*/ 857250 h 962209"/>
                <a:gd name="connsiteX1" fmla="*/ 1560521 w 1712815"/>
                <a:gd name="connsiteY1" fmla="*/ 962025 h 962209"/>
                <a:gd name="connsiteX2" fmla="*/ 2390 w 1712815"/>
                <a:gd name="connsiteY2" fmla="*/ 831056 h 962209"/>
                <a:gd name="connsiteX3" fmla="*/ 573889 w 1712815"/>
                <a:gd name="connsiteY3" fmla="*/ 359568 h 962209"/>
                <a:gd name="connsiteX4" fmla="*/ 614371 w 1712815"/>
                <a:gd name="connsiteY4" fmla="*/ 0 h 962209"/>
                <a:gd name="connsiteX0" fmla="*/ 1681171 w 1712815"/>
                <a:gd name="connsiteY0" fmla="*/ 857250 h 962209"/>
                <a:gd name="connsiteX1" fmla="*/ 1560521 w 1712815"/>
                <a:gd name="connsiteY1" fmla="*/ 962025 h 962209"/>
                <a:gd name="connsiteX2" fmla="*/ 2390 w 1712815"/>
                <a:gd name="connsiteY2" fmla="*/ 831056 h 962209"/>
                <a:gd name="connsiteX3" fmla="*/ 573889 w 1712815"/>
                <a:gd name="connsiteY3" fmla="*/ 359568 h 962209"/>
                <a:gd name="connsiteX4" fmla="*/ 614371 w 1712815"/>
                <a:gd name="connsiteY4" fmla="*/ 0 h 962209"/>
                <a:gd name="connsiteX0" fmla="*/ 1681235 w 1712879"/>
                <a:gd name="connsiteY0" fmla="*/ 857250 h 962209"/>
                <a:gd name="connsiteX1" fmla="*/ 1560585 w 1712879"/>
                <a:gd name="connsiteY1" fmla="*/ 962025 h 962209"/>
                <a:gd name="connsiteX2" fmla="*/ 2454 w 1712879"/>
                <a:gd name="connsiteY2" fmla="*/ 831056 h 962209"/>
                <a:gd name="connsiteX3" fmla="*/ 573953 w 1712879"/>
                <a:gd name="connsiteY3" fmla="*/ 359568 h 962209"/>
                <a:gd name="connsiteX4" fmla="*/ 614435 w 1712879"/>
                <a:gd name="connsiteY4" fmla="*/ 0 h 962209"/>
                <a:gd name="connsiteX0" fmla="*/ 1678781 w 1710425"/>
                <a:gd name="connsiteY0" fmla="*/ 857250 h 962209"/>
                <a:gd name="connsiteX1" fmla="*/ 1558131 w 1710425"/>
                <a:gd name="connsiteY1" fmla="*/ 962025 h 962209"/>
                <a:gd name="connsiteX2" fmla="*/ 0 w 1710425"/>
                <a:gd name="connsiteY2" fmla="*/ 831056 h 962209"/>
                <a:gd name="connsiteX3" fmla="*/ 571499 w 1710425"/>
                <a:gd name="connsiteY3" fmla="*/ 359568 h 962209"/>
                <a:gd name="connsiteX4" fmla="*/ 611981 w 1710425"/>
                <a:gd name="connsiteY4" fmla="*/ 0 h 962209"/>
                <a:gd name="connsiteX0" fmla="*/ 1678781 w 1710425"/>
                <a:gd name="connsiteY0" fmla="*/ 857250 h 962209"/>
                <a:gd name="connsiteX1" fmla="*/ 1558131 w 1710425"/>
                <a:gd name="connsiteY1" fmla="*/ 962025 h 962209"/>
                <a:gd name="connsiteX2" fmla="*/ 0 w 1710425"/>
                <a:gd name="connsiteY2" fmla="*/ 831056 h 962209"/>
                <a:gd name="connsiteX3" fmla="*/ 571499 w 1710425"/>
                <a:gd name="connsiteY3" fmla="*/ 359568 h 962209"/>
                <a:gd name="connsiteX4" fmla="*/ 611981 w 1710425"/>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695450 w 1728256"/>
                <a:gd name="connsiteY0" fmla="*/ 857250 h 962278"/>
                <a:gd name="connsiteX1" fmla="*/ 1574800 w 1728256"/>
                <a:gd name="connsiteY1" fmla="*/ 962025 h 962278"/>
                <a:gd name="connsiteX2" fmla="*/ 0 w 1728256"/>
                <a:gd name="connsiteY2" fmla="*/ 826293 h 962278"/>
                <a:gd name="connsiteX3" fmla="*/ 588168 w 1728256"/>
                <a:gd name="connsiteY3" fmla="*/ 359568 h 962278"/>
                <a:gd name="connsiteX4" fmla="*/ 628650 w 1728256"/>
                <a:gd name="connsiteY4" fmla="*/ 0 h 962278"/>
                <a:gd name="connsiteX0" fmla="*/ 1696407 w 1729213"/>
                <a:gd name="connsiteY0" fmla="*/ 857250 h 962278"/>
                <a:gd name="connsiteX1" fmla="*/ 1575757 w 1729213"/>
                <a:gd name="connsiteY1" fmla="*/ 962025 h 962278"/>
                <a:gd name="connsiteX2" fmla="*/ 957 w 1729213"/>
                <a:gd name="connsiteY2" fmla="*/ 826293 h 962278"/>
                <a:gd name="connsiteX3" fmla="*/ 589125 w 1729213"/>
                <a:gd name="connsiteY3" fmla="*/ 359568 h 962278"/>
                <a:gd name="connsiteX4" fmla="*/ 629607 w 1729213"/>
                <a:gd name="connsiteY4" fmla="*/ 0 h 962278"/>
                <a:gd name="connsiteX0" fmla="*/ 1715446 w 1749584"/>
                <a:gd name="connsiteY0" fmla="*/ 857250 h 962178"/>
                <a:gd name="connsiteX1" fmla="*/ 1594796 w 1749584"/>
                <a:gd name="connsiteY1" fmla="*/ 962025 h 962178"/>
                <a:gd name="connsiteX2" fmla="*/ 946 w 1749584"/>
                <a:gd name="connsiteY2" fmla="*/ 833436 h 962178"/>
                <a:gd name="connsiteX3" fmla="*/ 608164 w 1749584"/>
                <a:gd name="connsiteY3" fmla="*/ 359568 h 962178"/>
                <a:gd name="connsiteX4" fmla="*/ 648646 w 1749584"/>
                <a:gd name="connsiteY4" fmla="*/ 0 h 962178"/>
                <a:gd name="connsiteX0" fmla="*/ 1737332 w 1754060"/>
                <a:gd name="connsiteY0" fmla="*/ 857250 h 962031"/>
                <a:gd name="connsiteX1" fmla="*/ 1616682 w 1754060"/>
                <a:gd name="connsiteY1" fmla="*/ 962025 h 962031"/>
                <a:gd name="connsiteX2" fmla="*/ 275392 w 1754060"/>
                <a:gd name="connsiteY2" fmla="*/ 862217 h 962031"/>
                <a:gd name="connsiteX3" fmla="*/ 22832 w 1754060"/>
                <a:gd name="connsiteY3" fmla="*/ 833436 h 962031"/>
                <a:gd name="connsiteX4" fmla="*/ 630050 w 1754060"/>
                <a:gd name="connsiteY4" fmla="*/ 359568 h 962031"/>
                <a:gd name="connsiteX5" fmla="*/ 670532 w 1754060"/>
                <a:gd name="connsiteY5" fmla="*/ 0 h 962031"/>
                <a:gd name="connsiteX0" fmla="*/ 1730806 w 1747534"/>
                <a:gd name="connsiteY0" fmla="*/ 857250 h 962031"/>
                <a:gd name="connsiteX1" fmla="*/ 1610156 w 1747534"/>
                <a:gd name="connsiteY1" fmla="*/ 962025 h 962031"/>
                <a:gd name="connsiteX2" fmla="*/ 268866 w 1747534"/>
                <a:gd name="connsiteY2" fmla="*/ 862217 h 962031"/>
                <a:gd name="connsiteX3" fmla="*/ 16306 w 1747534"/>
                <a:gd name="connsiteY3" fmla="*/ 833436 h 962031"/>
                <a:gd name="connsiteX4" fmla="*/ 623524 w 1747534"/>
                <a:gd name="connsiteY4" fmla="*/ 359568 h 962031"/>
                <a:gd name="connsiteX5" fmla="*/ 664006 w 1747534"/>
                <a:gd name="connsiteY5" fmla="*/ 0 h 962031"/>
                <a:gd name="connsiteX0" fmla="*/ 1676823 w 1693551"/>
                <a:gd name="connsiteY0" fmla="*/ 857250 h 962031"/>
                <a:gd name="connsiteX1" fmla="*/ 1556173 w 1693551"/>
                <a:gd name="connsiteY1" fmla="*/ 962025 h 962031"/>
                <a:gd name="connsiteX2" fmla="*/ 214883 w 1693551"/>
                <a:gd name="connsiteY2" fmla="*/ 862217 h 962031"/>
                <a:gd name="connsiteX3" fmla="*/ 24235 w 1693551"/>
                <a:gd name="connsiteY3" fmla="*/ 781049 h 962031"/>
                <a:gd name="connsiteX4" fmla="*/ 569541 w 1693551"/>
                <a:gd name="connsiteY4" fmla="*/ 359568 h 962031"/>
                <a:gd name="connsiteX5" fmla="*/ 610023 w 1693551"/>
                <a:gd name="connsiteY5"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8445 w 1701973"/>
                <a:gd name="connsiteY5"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20975 w 1701973"/>
                <a:gd name="connsiteY5" fmla="*/ 164512 h 962031"/>
                <a:gd name="connsiteX6" fmla="*/ 618445 w 1701973"/>
                <a:gd name="connsiteY6" fmla="*/ 0 h 962031"/>
                <a:gd name="connsiteX0" fmla="*/ 1685245 w 1685245"/>
                <a:gd name="connsiteY0" fmla="*/ 857250 h 959650"/>
                <a:gd name="connsiteX1" fmla="*/ 1457439 w 1685245"/>
                <a:gd name="connsiteY1" fmla="*/ 959644 h 959650"/>
                <a:gd name="connsiteX2" fmla="*/ 223305 w 1685245"/>
                <a:gd name="connsiteY2" fmla="*/ 862217 h 959650"/>
                <a:gd name="connsiteX3" fmla="*/ 32657 w 1685245"/>
                <a:gd name="connsiteY3" fmla="*/ 781049 h 959650"/>
                <a:gd name="connsiteX4" fmla="*/ 577963 w 1685245"/>
                <a:gd name="connsiteY4" fmla="*/ 359568 h 959650"/>
                <a:gd name="connsiteX5" fmla="*/ 620975 w 1685245"/>
                <a:gd name="connsiteY5" fmla="*/ 164512 h 959650"/>
                <a:gd name="connsiteX6" fmla="*/ 618445 w 1685245"/>
                <a:gd name="connsiteY6" fmla="*/ 0 h 959650"/>
                <a:gd name="connsiteX0" fmla="*/ 1685245 w 1685245"/>
                <a:gd name="connsiteY0" fmla="*/ 857250 h 961822"/>
                <a:gd name="connsiteX1" fmla="*/ 1616337 w 1685245"/>
                <a:gd name="connsiteY1" fmla="*/ 924131 h 961822"/>
                <a:gd name="connsiteX2" fmla="*/ 1457439 w 1685245"/>
                <a:gd name="connsiteY2" fmla="*/ 959644 h 961822"/>
                <a:gd name="connsiteX3" fmla="*/ 223305 w 1685245"/>
                <a:gd name="connsiteY3" fmla="*/ 862217 h 961822"/>
                <a:gd name="connsiteX4" fmla="*/ 32657 w 1685245"/>
                <a:gd name="connsiteY4" fmla="*/ 781049 h 961822"/>
                <a:gd name="connsiteX5" fmla="*/ 577963 w 1685245"/>
                <a:gd name="connsiteY5" fmla="*/ 359568 h 961822"/>
                <a:gd name="connsiteX6" fmla="*/ 620975 w 1685245"/>
                <a:gd name="connsiteY6" fmla="*/ 164512 h 961822"/>
                <a:gd name="connsiteX7" fmla="*/ 618445 w 1685245"/>
                <a:gd name="connsiteY7" fmla="*/ 0 h 961822"/>
                <a:gd name="connsiteX0" fmla="*/ 1685245 w 1685245"/>
                <a:gd name="connsiteY0" fmla="*/ 857250 h 953018"/>
                <a:gd name="connsiteX1" fmla="*/ 1616337 w 1685245"/>
                <a:gd name="connsiteY1" fmla="*/ 924131 h 953018"/>
                <a:gd name="connsiteX2" fmla="*/ 1414576 w 1685245"/>
                <a:gd name="connsiteY2" fmla="*/ 950119 h 953018"/>
                <a:gd name="connsiteX3" fmla="*/ 223305 w 1685245"/>
                <a:gd name="connsiteY3" fmla="*/ 862217 h 953018"/>
                <a:gd name="connsiteX4" fmla="*/ 32657 w 1685245"/>
                <a:gd name="connsiteY4" fmla="*/ 781049 h 953018"/>
                <a:gd name="connsiteX5" fmla="*/ 577963 w 1685245"/>
                <a:gd name="connsiteY5" fmla="*/ 359568 h 953018"/>
                <a:gd name="connsiteX6" fmla="*/ 620975 w 1685245"/>
                <a:gd name="connsiteY6" fmla="*/ 164512 h 953018"/>
                <a:gd name="connsiteX7" fmla="*/ 618445 w 1685245"/>
                <a:gd name="connsiteY7" fmla="*/ 0 h 953018"/>
                <a:gd name="connsiteX0" fmla="*/ 1685245 w 1685245"/>
                <a:gd name="connsiteY0" fmla="*/ 857250 h 956840"/>
                <a:gd name="connsiteX1" fmla="*/ 1616337 w 1685245"/>
                <a:gd name="connsiteY1" fmla="*/ 924131 h 956840"/>
                <a:gd name="connsiteX2" fmla="*/ 1414576 w 1685245"/>
                <a:gd name="connsiteY2" fmla="*/ 950119 h 956840"/>
                <a:gd name="connsiteX3" fmla="*/ 223305 w 1685245"/>
                <a:gd name="connsiteY3" fmla="*/ 862217 h 956840"/>
                <a:gd name="connsiteX4" fmla="*/ 32657 w 1685245"/>
                <a:gd name="connsiteY4" fmla="*/ 781049 h 956840"/>
                <a:gd name="connsiteX5" fmla="*/ 577963 w 1685245"/>
                <a:gd name="connsiteY5" fmla="*/ 359568 h 956840"/>
                <a:gd name="connsiteX6" fmla="*/ 620975 w 1685245"/>
                <a:gd name="connsiteY6" fmla="*/ 164512 h 956840"/>
                <a:gd name="connsiteX7" fmla="*/ 618445 w 1685245"/>
                <a:gd name="connsiteY7" fmla="*/ 0 h 956840"/>
                <a:gd name="connsiteX0" fmla="*/ 1685245 w 1685245"/>
                <a:gd name="connsiteY0" fmla="*/ 857250 h 958892"/>
                <a:gd name="connsiteX1" fmla="*/ 1616337 w 1685245"/>
                <a:gd name="connsiteY1" fmla="*/ 924131 h 958892"/>
                <a:gd name="connsiteX2" fmla="*/ 14193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4193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18594 w 1685245"/>
                <a:gd name="connsiteY6" fmla="*/ 178799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18445 w 1685245"/>
                <a:gd name="connsiteY6" fmla="*/ 0 h 958892"/>
                <a:gd name="connsiteX0" fmla="*/ 1685245 w 1685245"/>
                <a:gd name="connsiteY0" fmla="*/ 497682 h 599324"/>
                <a:gd name="connsiteX1" fmla="*/ 1616337 w 1685245"/>
                <a:gd name="connsiteY1" fmla="*/ 564563 h 599324"/>
                <a:gd name="connsiteX2" fmla="*/ 1381238 w 1685245"/>
                <a:gd name="connsiteY2" fmla="*/ 592932 h 599324"/>
                <a:gd name="connsiteX3" fmla="*/ 223305 w 1685245"/>
                <a:gd name="connsiteY3" fmla="*/ 502649 h 599324"/>
                <a:gd name="connsiteX4" fmla="*/ 32657 w 1685245"/>
                <a:gd name="connsiteY4" fmla="*/ 421481 h 599324"/>
                <a:gd name="connsiteX5" fmla="*/ 577963 w 1685245"/>
                <a:gd name="connsiteY5" fmla="*/ 0 h 599324"/>
                <a:gd name="connsiteX0" fmla="*/ 1660892 w 1660892"/>
                <a:gd name="connsiteY0" fmla="*/ 497682 h 592932"/>
                <a:gd name="connsiteX1" fmla="*/ 1591984 w 1660892"/>
                <a:gd name="connsiteY1" fmla="*/ 564563 h 592932"/>
                <a:gd name="connsiteX2" fmla="*/ 1356885 w 1660892"/>
                <a:gd name="connsiteY2" fmla="*/ 592932 h 592932"/>
                <a:gd name="connsiteX3" fmla="*/ 1020483 w 1660892"/>
                <a:gd name="connsiteY3" fmla="*/ 564561 h 592932"/>
                <a:gd name="connsiteX4" fmla="*/ 8304 w 1660892"/>
                <a:gd name="connsiteY4" fmla="*/ 421481 h 592932"/>
                <a:gd name="connsiteX5" fmla="*/ 553610 w 1660892"/>
                <a:gd name="connsiteY5" fmla="*/ 0 h 592932"/>
                <a:gd name="connsiteX0" fmla="*/ 1143582 w 1143582"/>
                <a:gd name="connsiteY0" fmla="*/ 497682 h 592932"/>
                <a:gd name="connsiteX1" fmla="*/ 1074674 w 1143582"/>
                <a:gd name="connsiteY1" fmla="*/ 564563 h 592932"/>
                <a:gd name="connsiteX2" fmla="*/ 839575 w 1143582"/>
                <a:gd name="connsiteY2" fmla="*/ 592932 h 592932"/>
                <a:gd name="connsiteX3" fmla="*/ 503173 w 1143582"/>
                <a:gd name="connsiteY3" fmla="*/ 564561 h 592932"/>
                <a:gd name="connsiteX4" fmla="*/ 245850 w 1143582"/>
                <a:gd name="connsiteY4" fmla="*/ 483394 h 592932"/>
                <a:gd name="connsiteX5" fmla="*/ 36300 w 1143582"/>
                <a:gd name="connsiteY5" fmla="*/ 0 h 592932"/>
                <a:gd name="connsiteX0" fmla="*/ 927557 w 927557"/>
                <a:gd name="connsiteY0" fmla="*/ 59532 h 154782"/>
                <a:gd name="connsiteX1" fmla="*/ 858649 w 927557"/>
                <a:gd name="connsiteY1" fmla="*/ 126413 h 154782"/>
                <a:gd name="connsiteX2" fmla="*/ 623550 w 927557"/>
                <a:gd name="connsiteY2" fmla="*/ 154782 h 154782"/>
                <a:gd name="connsiteX3" fmla="*/ 287148 w 927557"/>
                <a:gd name="connsiteY3" fmla="*/ 126411 h 154782"/>
                <a:gd name="connsiteX4" fmla="*/ 29825 w 927557"/>
                <a:gd name="connsiteY4" fmla="*/ 45244 h 154782"/>
                <a:gd name="connsiteX5" fmla="*/ 94119 w 927557"/>
                <a:gd name="connsiteY5" fmla="*/ 0 h 154782"/>
                <a:gd name="connsiteX0" fmla="*/ 927557 w 927557"/>
                <a:gd name="connsiteY0" fmla="*/ 59532 h 154782"/>
                <a:gd name="connsiteX1" fmla="*/ 858649 w 927557"/>
                <a:gd name="connsiteY1" fmla="*/ 126413 h 154782"/>
                <a:gd name="connsiteX2" fmla="*/ 623550 w 927557"/>
                <a:gd name="connsiteY2" fmla="*/ 154782 h 154782"/>
                <a:gd name="connsiteX3" fmla="*/ 287148 w 927557"/>
                <a:gd name="connsiteY3" fmla="*/ 126411 h 154782"/>
                <a:gd name="connsiteX4" fmla="*/ 29825 w 927557"/>
                <a:gd name="connsiteY4" fmla="*/ 45244 h 154782"/>
                <a:gd name="connsiteX5" fmla="*/ 94119 w 927557"/>
                <a:gd name="connsiteY5" fmla="*/ 0 h 154782"/>
                <a:gd name="connsiteX0" fmla="*/ 928869 w 928869"/>
                <a:gd name="connsiteY0" fmla="*/ 59532 h 154782"/>
                <a:gd name="connsiteX1" fmla="*/ 859961 w 928869"/>
                <a:gd name="connsiteY1" fmla="*/ 126413 h 154782"/>
                <a:gd name="connsiteX2" fmla="*/ 624862 w 928869"/>
                <a:gd name="connsiteY2" fmla="*/ 154782 h 154782"/>
                <a:gd name="connsiteX3" fmla="*/ 288460 w 928869"/>
                <a:gd name="connsiteY3" fmla="*/ 126411 h 154782"/>
                <a:gd name="connsiteX4" fmla="*/ 31137 w 928869"/>
                <a:gd name="connsiteY4" fmla="*/ 45244 h 154782"/>
                <a:gd name="connsiteX5" fmla="*/ 95431 w 928869"/>
                <a:gd name="connsiteY5" fmla="*/ 0 h 154782"/>
                <a:gd name="connsiteX0" fmla="*/ 928869 w 928869"/>
                <a:gd name="connsiteY0" fmla="*/ 59532 h 154782"/>
                <a:gd name="connsiteX1" fmla="*/ 859961 w 928869"/>
                <a:gd name="connsiteY1" fmla="*/ 126413 h 154782"/>
                <a:gd name="connsiteX2" fmla="*/ 624862 w 928869"/>
                <a:gd name="connsiteY2" fmla="*/ 154782 h 154782"/>
                <a:gd name="connsiteX3" fmla="*/ 288460 w 928869"/>
                <a:gd name="connsiteY3" fmla="*/ 126411 h 154782"/>
                <a:gd name="connsiteX4" fmla="*/ 31137 w 928869"/>
                <a:gd name="connsiteY4" fmla="*/ 45244 h 154782"/>
                <a:gd name="connsiteX5" fmla="*/ 95431 w 928869"/>
                <a:gd name="connsiteY5" fmla="*/ 0 h 154782"/>
                <a:gd name="connsiteX0" fmla="*/ 928869 w 928869"/>
                <a:gd name="connsiteY0" fmla="*/ 59532 h 162179"/>
                <a:gd name="connsiteX1" fmla="*/ 859961 w 928869"/>
                <a:gd name="connsiteY1" fmla="*/ 126413 h 162179"/>
                <a:gd name="connsiteX2" fmla="*/ 624862 w 928869"/>
                <a:gd name="connsiteY2" fmla="*/ 154782 h 162179"/>
                <a:gd name="connsiteX3" fmla="*/ 288460 w 928869"/>
                <a:gd name="connsiteY3" fmla="*/ 126411 h 162179"/>
                <a:gd name="connsiteX4" fmla="*/ 31137 w 928869"/>
                <a:gd name="connsiteY4" fmla="*/ 45244 h 162179"/>
                <a:gd name="connsiteX5" fmla="*/ 95431 w 928869"/>
                <a:gd name="connsiteY5" fmla="*/ 0 h 162179"/>
                <a:gd name="connsiteX0" fmla="*/ 928869 w 928869"/>
                <a:gd name="connsiteY0" fmla="*/ 59532 h 164840"/>
                <a:gd name="connsiteX1" fmla="*/ 859961 w 928869"/>
                <a:gd name="connsiteY1" fmla="*/ 126413 h 164840"/>
                <a:gd name="connsiteX2" fmla="*/ 624862 w 928869"/>
                <a:gd name="connsiteY2" fmla="*/ 154782 h 164840"/>
                <a:gd name="connsiteX3" fmla="*/ 288460 w 928869"/>
                <a:gd name="connsiteY3" fmla="*/ 126411 h 164840"/>
                <a:gd name="connsiteX4" fmla="*/ 31137 w 928869"/>
                <a:gd name="connsiteY4" fmla="*/ 45244 h 164840"/>
                <a:gd name="connsiteX5" fmla="*/ 95431 w 928869"/>
                <a:gd name="connsiteY5" fmla="*/ 0 h 164840"/>
                <a:gd name="connsiteX0" fmla="*/ 928869 w 928869"/>
                <a:gd name="connsiteY0" fmla="*/ 59532 h 166155"/>
                <a:gd name="connsiteX1" fmla="*/ 859961 w 928869"/>
                <a:gd name="connsiteY1" fmla="*/ 126413 h 166155"/>
                <a:gd name="connsiteX2" fmla="*/ 691537 w 928869"/>
                <a:gd name="connsiteY2" fmla="*/ 157164 h 166155"/>
                <a:gd name="connsiteX3" fmla="*/ 288460 w 928869"/>
                <a:gd name="connsiteY3" fmla="*/ 126411 h 166155"/>
                <a:gd name="connsiteX4" fmla="*/ 31137 w 928869"/>
                <a:gd name="connsiteY4" fmla="*/ 45244 h 166155"/>
                <a:gd name="connsiteX5" fmla="*/ 95431 w 928869"/>
                <a:gd name="connsiteY5" fmla="*/ 0 h 166155"/>
                <a:gd name="connsiteX0" fmla="*/ 928869 w 928869"/>
                <a:gd name="connsiteY0" fmla="*/ 59532 h 162522"/>
                <a:gd name="connsiteX1" fmla="*/ 859961 w 928869"/>
                <a:gd name="connsiteY1" fmla="*/ 126413 h 162522"/>
                <a:gd name="connsiteX2" fmla="*/ 691537 w 928869"/>
                <a:gd name="connsiteY2" fmla="*/ 157164 h 162522"/>
                <a:gd name="connsiteX3" fmla="*/ 288460 w 928869"/>
                <a:gd name="connsiteY3" fmla="*/ 126411 h 162522"/>
                <a:gd name="connsiteX4" fmla="*/ 31137 w 928869"/>
                <a:gd name="connsiteY4" fmla="*/ 45244 h 162522"/>
                <a:gd name="connsiteX5" fmla="*/ 95431 w 928869"/>
                <a:gd name="connsiteY5" fmla="*/ 0 h 162522"/>
                <a:gd name="connsiteX0" fmla="*/ 919368 w 919368"/>
                <a:gd name="connsiteY0" fmla="*/ 59532 h 159830"/>
                <a:gd name="connsiteX1" fmla="*/ 850460 w 919368"/>
                <a:gd name="connsiteY1" fmla="*/ 126413 h 159830"/>
                <a:gd name="connsiteX2" fmla="*/ 682036 w 919368"/>
                <a:gd name="connsiteY2" fmla="*/ 157164 h 159830"/>
                <a:gd name="connsiteX3" fmla="*/ 155134 w 919368"/>
                <a:gd name="connsiteY3" fmla="*/ 121648 h 159830"/>
                <a:gd name="connsiteX4" fmla="*/ 21636 w 919368"/>
                <a:gd name="connsiteY4" fmla="*/ 45244 h 159830"/>
                <a:gd name="connsiteX5" fmla="*/ 85930 w 919368"/>
                <a:gd name="connsiteY5" fmla="*/ 0 h 159830"/>
                <a:gd name="connsiteX0" fmla="*/ 918286 w 918286"/>
                <a:gd name="connsiteY0" fmla="*/ 59532 h 159830"/>
                <a:gd name="connsiteX1" fmla="*/ 849378 w 918286"/>
                <a:gd name="connsiteY1" fmla="*/ 126413 h 159830"/>
                <a:gd name="connsiteX2" fmla="*/ 680954 w 918286"/>
                <a:gd name="connsiteY2" fmla="*/ 157164 h 159830"/>
                <a:gd name="connsiteX3" fmla="*/ 154052 w 918286"/>
                <a:gd name="connsiteY3" fmla="*/ 121648 h 159830"/>
                <a:gd name="connsiteX4" fmla="*/ 20554 w 918286"/>
                <a:gd name="connsiteY4" fmla="*/ 45244 h 159830"/>
                <a:gd name="connsiteX5" fmla="*/ 84848 w 918286"/>
                <a:gd name="connsiteY5" fmla="*/ 0 h 159830"/>
                <a:gd name="connsiteX0" fmla="*/ 915231 w 915231"/>
                <a:gd name="connsiteY0" fmla="*/ 59532 h 159830"/>
                <a:gd name="connsiteX1" fmla="*/ 846323 w 915231"/>
                <a:gd name="connsiteY1" fmla="*/ 126413 h 159830"/>
                <a:gd name="connsiteX2" fmla="*/ 677899 w 915231"/>
                <a:gd name="connsiteY2" fmla="*/ 157164 h 159830"/>
                <a:gd name="connsiteX3" fmla="*/ 150997 w 915231"/>
                <a:gd name="connsiteY3" fmla="*/ 121648 h 159830"/>
                <a:gd name="connsiteX4" fmla="*/ 22261 w 915231"/>
                <a:gd name="connsiteY4" fmla="*/ 59531 h 159830"/>
                <a:gd name="connsiteX5" fmla="*/ 81793 w 915231"/>
                <a:gd name="connsiteY5" fmla="*/ 0 h 159830"/>
                <a:gd name="connsiteX0" fmla="*/ 916746 w 916746"/>
                <a:gd name="connsiteY0" fmla="*/ 59532 h 159830"/>
                <a:gd name="connsiteX1" fmla="*/ 847838 w 916746"/>
                <a:gd name="connsiteY1" fmla="*/ 126413 h 159830"/>
                <a:gd name="connsiteX2" fmla="*/ 679414 w 916746"/>
                <a:gd name="connsiteY2" fmla="*/ 157164 h 159830"/>
                <a:gd name="connsiteX3" fmla="*/ 152512 w 916746"/>
                <a:gd name="connsiteY3" fmla="*/ 121648 h 159830"/>
                <a:gd name="connsiteX4" fmla="*/ 21395 w 916746"/>
                <a:gd name="connsiteY4" fmla="*/ 76199 h 159830"/>
                <a:gd name="connsiteX5" fmla="*/ 83308 w 916746"/>
                <a:gd name="connsiteY5" fmla="*/ 0 h 159830"/>
                <a:gd name="connsiteX0" fmla="*/ 917675 w 917675"/>
                <a:gd name="connsiteY0" fmla="*/ 59532 h 159830"/>
                <a:gd name="connsiteX1" fmla="*/ 848767 w 917675"/>
                <a:gd name="connsiteY1" fmla="*/ 126413 h 159830"/>
                <a:gd name="connsiteX2" fmla="*/ 680343 w 917675"/>
                <a:gd name="connsiteY2" fmla="*/ 157164 h 159830"/>
                <a:gd name="connsiteX3" fmla="*/ 153441 w 917675"/>
                <a:gd name="connsiteY3" fmla="*/ 121648 h 159830"/>
                <a:gd name="connsiteX4" fmla="*/ 22324 w 917675"/>
                <a:gd name="connsiteY4" fmla="*/ 76199 h 159830"/>
                <a:gd name="connsiteX5" fmla="*/ 84237 w 917675"/>
                <a:gd name="connsiteY5" fmla="*/ 0 h 159830"/>
                <a:gd name="connsiteX0" fmla="*/ 917675 w 917675"/>
                <a:gd name="connsiteY0" fmla="*/ 59609 h 159907"/>
                <a:gd name="connsiteX1" fmla="*/ 848767 w 917675"/>
                <a:gd name="connsiteY1" fmla="*/ 126490 h 159907"/>
                <a:gd name="connsiteX2" fmla="*/ 680343 w 917675"/>
                <a:gd name="connsiteY2" fmla="*/ 157241 h 159907"/>
                <a:gd name="connsiteX3" fmla="*/ 153441 w 917675"/>
                <a:gd name="connsiteY3" fmla="*/ 121725 h 159907"/>
                <a:gd name="connsiteX4" fmla="*/ 22324 w 917675"/>
                <a:gd name="connsiteY4" fmla="*/ 76276 h 159907"/>
                <a:gd name="connsiteX5" fmla="*/ 84237 w 917675"/>
                <a:gd name="connsiteY5" fmla="*/ 77 h 159907"/>
                <a:gd name="connsiteX0" fmla="*/ 902981 w 902981"/>
                <a:gd name="connsiteY0" fmla="*/ 28664 h 128962"/>
                <a:gd name="connsiteX1" fmla="*/ 834073 w 902981"/>
                <a:gd name="connsiteY1" fmla="*/ 95545 h 128962"/>
                <a:gd name="connsiteX2" fmla="*/ 665649 w 902981"/>
                <a:gd name="connsiteY2" fmla="*/ 126296 h 128962"/>
                <a:gd name="connsiteX3" fmla="*/ 138747 w 902981"/>
                <a:gd name="connsiteY3" fmla="*/ 90780 h 128962"/>
                <a:gd name="connsiteX4" fmla="*/ 7630 w 902981"/>
                <a:gd name="connsiteY4" fmla="*/ 45331 h 128962"/>
                <a:gd name="connsiteX5" fmla="*/ 57637 w 902981"/>
                <a:gd name="connsiteY5" fmla="*/ 88 h 128962"/>
                <a:gd name="connsiteX0" fmla="*/ 903972 w 903972"/>
                <a:gd name="connsiteY0" fmla="*/ 57202 h 157500"/>
                <a:gd name="connsiteX1" fmla="*/ 835064 w 903972"/>
                <a:gd name="connsiteY1" fmla="*/ 124083 h 157500"/>
                <a:gd name="connsiteX2" fmla="*/ 666640 w 903972"/>
                <a:gd name="connsiteY2" fmla="*/ 154834 h 157500"/>
                <a:gd name="connsiteX3" fmla="*/ 139738 w 903972"/>
                <a:gd name="connsiteY3" fmla="*/ 119318 h 157500"/>
                <a:gd name="connsiteX4" fmla="*/ 8621 w 903972"/>
                <a:gd name="connsiteY4" fmla="*/ 73869 h 157500"/>
                <a:gd name="connsiteX5" fmla="*/ 72915 w 903972"/>
                <a:gd name="connsiteY5" fmla="*/ 51 h 157500"/>
                <a:gd name="connsiteX0" fmla="*/ 914093 w 914093"/>
                <a:gd name="connsiteY0" fmla="*/ 57204 h 157502"/>
                <a:gd name="connsiteX1" fmla="*/ 845185 w 914093"/>
                <a:gd name="connsiteY1" fmla="*/ 124085 h 157502"/>
                <a:gd name="connsiteX2" fmla="*/ 676761 w 914093"/>
                <a:gd name="connsiteY2" fmla="*/ 154836 h 157502"/>
                <a:gd name="connsiteX3" fmla="*/ 149859 w 914093"/>
                <a:gd name="connsiteY3" fmla="*/ 119320 h 157502"/>
                <a:gd name="connsiteX4" fmla="*/ 18742 w 914093"/>
                <a:gd name="connsiteY4" fmla="*/ 73871 h 157502"/>
                <a:gd name="connsiteX5" fmla="*/ 83036 w 914093"/>
                <a:gd name="connsiteY5" fmla="*/ 53 h 157502"/>
                <a:gd name="connsiteX0" fmla="*/ 923611 w 923611"/>
                <a:gd name="connsiteY0" fmla="*/ 57204 h 157502"/>
                <a:gd name="connsiteX1" fmla="*/ 854703 w 923611"/>
                <a:gd name="connsiteY1" fmla="*/ 124085 h 157502"/>
                <a:gd name="connsiteX2" fmla="*/ 686279 w 923611"/>
                <a:gd name="connsiteY2" fmla="*/ 154836 h 157502"/>
                <a:gd name="connsiteX3" fmla="*/ 159377 w 923611"/>
                <a:gd name="connsiteY3" fmla="*/ 119320 h 157502"/>
                <a:gd name="connsiteX4" fmla="*/ 13972 w 923611"/>
                <a:gd name="connsiteY4" fmla="*/ 73871 h 157502"/>
                <a:gd name="connsiteX5" fmla="*/ 92554 w 923611"/>
                <a:gd name="connsiteY5" fmla="*/ 53 h 157502"/>
                <a:gd name="connsiteX0" fmla="*/ 910855 w 910855"/>
                <a:gd name="connsiteY0" fmla="*/ 57203 h 157674"/>
                <a:gd name="connsiteX1" fmla="*/ 841947 w 910855"/>
                <a:gd name="connsiteY1" fmla="*/ 124084 h 157674"/>
                <a:gd name="connsiteX2" fmla="*/ 673523 w 910855"/>
                <a:gd name="connsiteY2" fmla="*/ 154835 h 157674"/>
                <a:gd name="connsiteX3" fmla="*/ 153764 w 910855"/>
                <a:gd name="connsiteY3" fmla="*/ 116938 h 157674"/>
                <a:gd name="connsiteX4" fmla="*/ 1216 w 910855"/>
                <a:gd name="connsiteY4" fmla="*/ 73870 h 157674"/>
                <a:gd name="connsiteX5" fmla="*/ 79798 w 910855"/>
                <a:gd name="connsiteY5" fmla="*/ 52 h 157674"/>
                <a:gd name="connsiteX0" fmla="*/ 919840 w 919840"/>
                <a:gd name="connsiteY0" fmla="*/ 57204 h 157675"/>
                <a:gd name="connsiteX1" fmla="*/ 850932 w 919840"/>
                <a:gd name="connsiteY1" fmla="*/ 124085 h 157675"/>
                <a:gd name="connsiteX2" fmla="*/ 682508 w 919840"/>
                <a:gd name="connsiteY2" fmla="*/ 154836 h 157675"/>
                <a:gd name="connsiteX3" fmla="*/ 162749 w 919840"/>
                <a:gd name="connsiteY3" fmla="*/ 116939 h 157675"/>
                <a:gd name="connsiteX4" fmla="*/ 10201 w 919840"/>
                <a:gd name="connsiteY4" fmla="*/ 73871 h 157675"/>
                <a:gd name="connsiteX5" fmla="*/ 88783 w 919840"/>
                <a:gd name="connsiteY5" fmla="*/ 53 h 157675"/>
                <a:gd name="connsiteX0" fmla="*/ 922773 w 922773"/>
                <a:gd name="connsiteY0" fmla="*/ 57218 h 157689"/>
                <a:gd name="connsiteX1" fmla="*/ 853865 w 922773"/>
                <a:gd name="connsiteY1" fmla="*/ 124099 h 157689"/>
                <a:gd name="connsiteX2" fmla="*/ 685441 w 922773"/>
                <a:gd name="connsiteY2" fmla="*/ 154850 h 157689"/>
                <a:gd name="connsiteX3" fmla="*/ 165682 w 922773"/>
                <a:gd name="connsiteY3" fmla="*/ 116953 h 157689"/>
                <a:gd name="connsiteX4" fmla="*/ 13134 w 922773"/>
                <a:gd name="connsiteY4" fmla="*/ 73885 h 157689"/>
                <a:gd name="connsiteX5" fmla="*/ 91716 w 922773"/>
                <a:gd name="connsiteY5" fmla="*/ 67 h 157689"/>
                <a:gd name="connsiteX0" fmla="*/ 911192 w 911192"/>
                <a:gd name="connsiteY0" fmla="*/ 57237 h 157708"/>
                <a:gd name="connsiteX1" fmla="*/ 842284 w 911192"/>
                <a:gd name="connsiteY1" fmla="*/ 124118 h 157708"/>
                <a:gd name="connsiteX2" fmla="*/ 673860 w 911192"/>
                <a:gd name="connsiteY2" fmla="*/ 154869 h 157708"/>
                <a:gd name="connsiteX3" fmla="*/ 154101 w 911192"/>
                <a:gd name="connsiteY3" fmla="*/ 116972 h 157708"/>
                <a:gd name="connsiteX4" fmla="*/ 18222 w 911192"/>
                <a:gd name="connsiteY4" fmla="*/ 64379 h 157708"/>
                <a:gd name="connsiteX5" fmla="*/ 80135 w 911192"/>
                <a:gd name="connsiteY5" fmla="*/ 86 h 157708"/>
                <a:gd name="connsiteX0" fmla="*/ 915339 w 915339"/>
                <a:gd name="connsiteY0" fmla="*/ 57239 h 157710"/>
                <a:gd name="connsiteX1" fmla="*/ 846431 w 915339"/>
                <a:gd name="connsiteY1" fmla="*/ 124120 h 157710"/>
                <a:gd name="connsiteX2" fmla="*/ 678007 w 915339"/>
                <a:gd name="connsiteY2" fmla="*/ 154871 h 157710"/>
                <a:gd name="connsiteX3" fmla="*/ 158248 w 915339"/>
                <a:gd name="connsiteY3" fmla="*/ 116974 h 157710"/>
                <a:gd name="connsiteX4" fmla="*/ 22369 w 915339"/>
                <a:gd name="connsiteY4" fmla="*/ 64381 h 157710"/>
                <a:gd name="connsiteX5" fmla="*/ 84282 w 915339"/>
                <a:gd name="connsiteY5" fmla="*/ 88 h 157710"/>
                <a:gd name="connsiteX0" fmla="*/ 901952 w 901952"/>
                <a:gd name="connsiteY0" fmla="*/ 57384 h 157855"/>
                <a:gd name="connsiteX1" fmla="*/ 833044 w 901952"/>
                <a:gd name="connsiteY1" fmla="*/ 124265 h 157855"/>
                <a:gd name="connsiteX2" fmla="*/ 664620 w 901952"/>
                <a:gd name="connsiteY2" fmla="*/ 155016 h 157855"/>
                <a:gd name="connsiteX3" fmla="*/ 144861 w 901952"/>
                <a:gd name="connsiteY3" fmla="*/ 117119 h 157855"/>
                <a:gd name="connsiteX4" fmla="*/ 30413 w 901952"/>
                <a:gd name="connsiteY4" fmla="*/ 43095 h 157855"/>
                <a:gd name="connsiteX5" fmla="*/ 70895 w 901952"/>
                <a:gd name="connsiteY5" fmla="*/ 233 h 157855"/>
                <a:gd name="connsiteX0" fmla="*/ 904773 w 904773"/>
                <a:gd name="connsiteY0" fmla="*/ 57350 h 157821"/>
                <a:gd name="connsiteX1" fmla="*/ 835865 w 904773"/>
                <a:gd name="connsiteY1" fmla="*/ 124231 h 157821"/>
                <a:gd name="connsiteX2" fmla="*/ 667441 w 904773"/>
                <a:gd name="connsiteY2" fmla="*/ 154982 h 157821"/>
                <a:gd name="connsiteX3" fmla="*/ 147682 w 904773"/>
                <a:gd name="connsiteY3" fmla="*/ 117085 h 157821"/>
                <a:gd name="connsiteX4" fmla="*/ 28471 w 904773"/>
                <a:gd name="connsiteY4" fmla="*/ 45442 h 157821"/>
                <a:gd name="connsiteX5" fmla="*/ 73716 w 904773"/>
                <a:gd name="connsiteY5" fmla="*/ 199 h 157821"/>
                <a:gd name="connsiteX0" fmla="*/ 904773 w 904773"/>
                <a:gd name="connsiteY0" fmla="*/ 57350 h 159991"/>
                <a:gd name="connsiteX1" fmla="*/ 850153 w 904773"/>
                <a:gd name="connsiteY1" fmla="*/ 128994 h 159991"/>
                <a:gd name="connsiteX2" fmla="*/ 667441 w 904773"/>
                <a:gd name="connsiteY2" fmla="*/ 154982 h 159991"/>
                <a:gd name="connsiteX3" fmla="*/ 147682 w 904773"/>
                <a:gd name="connsiteY3" fmla="*/ 117085 h 159991"/>
                <a:gd name="connsiteX4" fmla="*/ 28471 w 904773"/>
                <a:gd name="connsiteY4" fmla="*/ 45442 h 159991"/>
                <a:gd name="connsiteX5" fmla="*/ 73716 w 904773"/>
                <a:gd name="connsiteY5" fmla="*/ 199 h 159991"/>
                <a:gd name="connsiteX0" fmla="*/ 891251 w 891251"/>
                <a:gd name="connsiteY0" fmla="*/ 57252 h 159893"/>
                <a:gd name="connsiteX1" fmla="*/ 836631 w 891251"/>
                <a:gd name="connsiteY1" fmla="*/ 128896 h 159893"/>
                <a:gd name="connsiteX2" fmla="*/ 653919 w 891251"/>
                <a:gd name="connsiteY2" fmla="*/ 154884 h 159893"/>
                <a:gd name="connsiteX3" fmla="*/ 130985 w 891251"/>
                <a:gd name="connsiteY3" fmla="*/ 116987 h 159893"/>
                <a:gd name="connsiteX4" fmla="*/ 14949 w 891251"/>
                <a:gd name="connsiteY4" fmla="*/ 45344 h 159893"/>
                <a:gd name="connsiteX5" fmla="*/ 60194 w 891251"/>
                <a:gd name="connsiteY5" fmla="*/ 101 h 159893"/>
                <a:gd name="connsiteX0" fmla="*/ 878053 w 878053"/>
                <a:gd name="connsiteY0" fmla="*/ 57252 h 159893"/>
                <a:gd name="connsiteX1" fmla="*/ 823433 w 878053"/>
                <a:gd name="connsiteY1" fmla="*/ 128896 h 159893"/>
                <a:gd name="connsiteX2" fmla="*/ 640721 w 878053"/>
                <a:gd name="connsiteY2" fmla="*/ 154884 h 159893"/>
                <a:gd name="connsiteX3" fmla="*/ 117787 w 878053"/>
                <a:gd name="connsiteY3" fmla="*/ 116987 h 159893"/>
                <a:gd name="connsiteX4" fmla="*/ 1751 w 878053"/>
                <a:gd name="connsiteY4" fmla="*/ 45344 h 159893"/>
                <a:gd name="connsiteX5" fmla="*/ 46996 w 878053"/>
                <a:gd name="connsiteY5" fmla="*/ 101 h 159893"/>
                <a:gd name="connsiteX0" fmla="*/ 881139 w 881139"/>
                <a:gd name="connsiteY0" fmla="*/ 57228 h 159869"/>
                <a:gd name="connsiteX1" fmla="*/ 826519 w 881139"/>
                <a:gd name="connsiteY1" fmla="*/ 128872 h 159869"/>
                <a:gd name="connsiteX2" fmla="*/ 643807 w 881139"/>
                <a:gd name="connsiteY2" fmla="*/ 154860 h 159869"/>
                <a:gd name="connsiteX3" fmla="*/ 120873 w 881139"/>
                <a:gd name="connsiteY3" fmla="*/ 116963 h 159869"/>
                <a:gd name="connsiteX4" fmla="*/ 1662 w 881139"/>
                <a:gd name="connsiteY4" fmla="*/ 54845 h 159869"/>
                <a:gd name="connsiteX5" fmla="*/ 50082 w 881139"/>
                <a:gd name="connsiteY5" fmla="*/ 77 h 159869"/>
                <a:gd name="connsiteX0" fmla="*/ 888020 w 888020"/>
                <a:gd name="connsiteY0" fmla="*/ 57241 h 159882"/>
                <a:gd name="connsiteX1" fmla="*/ 833400 w 888020"/>
                <a:gd name="connsiteY1" fmla="*/ 128885 h 159882"/>
                <a:gd name="connsiteX2" fmla="*/ 650688 w 888020"/>
                <a:gd name="connsiteY2" fmla="*/ 154873 h 159882"/>
                <a:gd name="connsiteX3" fmla="*/ 127754 w 888020"/>
                <a:gd name="connsiteY3" fmla="*/ 116976 h 159882"/>
                <a:gd name="connsiteX4" fmla="*/ 8543 w 888020"/>
                <a:gd name="connsiteY4" fmla="*/ 54858 h 159882"/>
                <a:gd name="connsiteX5" fmla="*/ 56963 w 888020"/>
                <a:gd name="connsiteY5" fmla="*/ 90 h 159882"/>
                <a:gd name="connsiteX0" fmla="*/ 898388 w 898388"/>
                <a:gd name="connsiteY0" fmla="*/ 57217 h 159858"/>
                <a:gd name="connsiteX1" fmla="*/ 843768 w 898388"/>
                <a:gd name="connsiteY1" fmla="*/ 128861 h 159858"/>
                <a:gd name="connsiteX2" fmla="*/ 661056 w 898388"/>
                <a:gd name="connsiteY2" fmla="*/ 154849 h 159858"/>
                <a:gd name="connsiteX3" fmla="*/ 138122 w 898388"/>
                <a:gd name="connsiteY3" fmla="*/ 116952 h 159858"/>
                <a:gd name="connsiteX4" fmla="*/ 6211 w 898388"/>
                <a:gd name="connsiteY4" fmla="*/ 67534 h 159858"/>
                <a:gd name="connsiteX5" fmla="*/ 67331 w 898388"/>
                <a:gd name="connsiteY5" fmla="*/ 66 h 159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8388" h="159858">
                  <a:moveTo>
                    <a:pt x="898388" y="57217"/>
                  </a:moveTo>
                  <a:cubicBezTo>
                    <a:pt x="891666" y="67967"/>
                    <a:pt x="867448" y="102270"/>
                    <a:pt x="843768" y="128861"/>
                  </a:cubicBezTo>
                  <a:cubicBezTo>
                    <a:pt x="781987" y="174503"/>
                    <a:pt x="778664" y="156834"/>
                    <a:pt x="661056" y="154849"/>
                  </a:cubicBezTo>
                  <a:cubicBezTo>
                    <a:pt x="543448" y="152864"/>
                    <a:pt x="313756" y="128791"/>
                    <a:pt x="138122" y="116952"/>
                  </a:cubicBezTo>
                  <a:cubicBezTo>
                    <a:pt x="-10839" y="103459"/>
                    <a:pt x="-7711" y="85558"/>
                    <a:pt x="6211" y="67534"/>
                  </a:cubicBezTo>
                  <a:cubicBezTo>
                    <a:pt x="26163" y="41703"/>
                    <a:pt x="61774" y="-1917"/>
                    <a:pt x="67331" y="66"/>
                  </a:cubicBezTo>
                </a:path>
              </a:pathLst>
            </a:custGeom>
            <a:noFill/>
            <a:ln w="57150">
              <a:solidFill>
                <a:srgbClr val="4BD65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4" name="Freihandform 23"/>
            <p:cNvSpPr/>
            <p:nvPr/>
          </p:nvSpPr>
          <p:spPr>
            <a:xfrm>
              <a:off x="4785301" y="3981228"/>
              <a:ext cx="1627459" cy="357950"/>
            </a:xfrm>
            <a:custGeom>
              <a:avLst/>
              <a:gdLst>
                <a:gd name="connsiteX0" fmla="*/ 1733550 w 1733550"/>
                <a:gd name="connsiteY0" fmla="*/ 857250 h 962025"/>
                <a:gd name="connsiteX1" fmla="*/ 1612900 w 1733550"/>
                <a:gd name="connsiteY1" fmla="*/ 962025 h 962025"/>
                <a:gd name="connsiteX2" fmla="*/ 0 w 1733550"/>
                <a:gd name="connsiteY2" fmla="*/ 838200 h 962025"/>
                <a:gd name="connsiteX3" fmla="*/ 666750 w 1733550"/>
                <a:gd name="connsiteY3" fmla="*/ 323850 h 962025"/>
                <a:gd name="connsiteX4" fmla="*/ 666750 w 1733550"/>
                <a:gd name="connsiteY4" fmla="*/ 0 h 962025"/>
                <a:gd name="connsiteX0" fmla="*/ 1756203 w 1756203"/>
                <a:gd name="connsiteY0" fmla="*/ 857250 h 962025"/>
                <a:gd name="connsiteX1" fmla="*/ 1635553 w 1756203"/>
                <a:gd name="connsiteY1" fmla="*/ 962025 h 962025"/>
                <a:gd name="connsiteX2" fmla="*/ 22653 w 1756203"/>
                <a:gd name="connsiteY2" fmla="*/ 838200 h 962025"/>
                <a:gd name="connsiteX3" fmla="*/ 689403 w 1756203"/>
                <a:gd name="connsiteY3" fmla="*/ 323850 h 962025"/>
                <a:gd name="connsiteX4" fmla="*/ 689403 w 1756203"/>
                <a:gd name="connsiteY4" fmla="*/ 0 h 962025"/>
                <a:gd name="connsiteX0" fmla="*/ 1756203 w 1756203"/>
                <a:gd name="connsiteY0" fmla="*/ 857250 h 962025"/>
                <a:gd name="connsiteX1" fmla="*/ 1635553 w 1756203"/>
                <a:gd name="connsiteY1" fmla="*/ 962025 h 962025"/>
                <a:gd name="connsiteX2" fmla="*/ 22653 w 1756203"/>
                <a:gd name="connsiteY2" fmla="*/ 838200 h 962025"/>
                <a:gd name="connsiteX3" fmla="*/ 689403 w 1756203"/>
                <a:gd name="connsiteY3" fmla="*/ 323850 h 962025"/>
                <a:gd name="connsiteX4" fmla="*/ 689403 w 1756203"/>
                <a:gd name="connsiteY4" fmla="*/ 0 h 962025"/>
                <a:gd name="connsiteX0" fmla="*/ 1756203 w 1791674"/>
                <a:gd name="connsiteY0" fmla="*/ 857250 h 962125"/>
                <a:gd name="connsiteX1" fmla="*/ 1635553 w 1791674"/>
                <a:gd name="connsiteY1" fmla="*/ 962025 h 962125"/>
                <a:gd name="connsiteX2" fmla="*/ 22653 w 1791674"/>
                <a:gd name="connsiteY2" fmla="*/ 838200 h 962125"/>
                <a:gd name="connsiteX3" fmla="*/ 689403 w 1791674"/>
                <a:gd name="connsiteY3" fmla="*/ 323850 h 962125"/>
                <a:gd name="connsiteX4" fmla="*/ 689403 w 1791674"/>
                <a:gd name="connsiteY4" fmla="*/ 0 h 962125"/>
                <a:gd name="connsiteX0" fmla="*/ 1758028 w 1793499"/>
                <a:gd name="connsiteY0" fmla="*/ 857250 h 962125"/>
                <a:gd name="connsiteX1" fmla="*/ 1637378 w 1793499"/>
                <a:gd name="connsiteY1" fmla="*/ 962025 h 962125"/>
                <a:gd name="connsiteX2" fmla="*/ 24478 w 1793499"/>
                <a:gd name="connsiteY2" fmla="*/ 838200 h 962125"/>
                <a:gd name="connsiteX3" fmla="*/ 665034 w 1793499"/>
                <a:gd name="connsiteY3" fmla="*/ 352425 h 962125"/>
                <a:gd name="connsiteX4" fmla="*/ 691228 w 1793499"/>
                <a:gd name="connsiteY4" fmla="*/ 0 h 962125"/>
                <a:gd name="connsiteX0" fmla="*/ 1757134 w 1792605"/>
                <a:gd name="connsiteY0" fmla="*/ 857250 h 962125"/>
                <a:gd name="connsiteX1" fmla="*/ 1636484 w 1792605"/>
                <a:gd name="connsiteY1" fmla="*/ 962025 h 962125"/>
                <a:gd name="connsiteX2" fmla="*/ 23584 w 1792605"/>
                <a:gd name="connsiteY2" fmla="*/ 838200 h 962125"/>
                <a:gd name="connsiteX3" fmla="*/ 664140 w 1792605"/>
                <a:gd name="connsiteY3" fmla="*/ 352425 h 962125"/>
                <a:gd name="connsiteX4" fmla="*/ 690334 w 1792605"/>
                <a:gd name="connsiteY4" fmla="*/ 0 h 962125"/>
                <a:gd name="connsiteX0" fmla="*/ 1756629 w 1792100"/>
                <a:gd name="connsiteY0" fmla="*/ 857250 h 962125"/>
                <a:gd name="connsiteX1" fmla="*/ 1635979 w 1792100"/>
                <a:gd name="connsiteY1" fmla="*/ 962025 h 962125"/>
                <a:gd name="connsiteX2" fmla="*/ 23079 w 1792100"/>
                <a:gd name="connsiteY2" fmla="*/ 838200 h 962125"/>
                <a:gd name="connsiteX3" fmla="*/ 663635 w 1792100"/>
                <a:gd name="connsiteY3" fmla="*/ 352425 h 962125"/>
                <a:gd name="connsiteX4" fmla="*/ 689829 w 1792100"/>
                <a:gd name="connsiteY4" fmla="*/ 0 h 962125"/>
                <a:gd name="connsiteX0" fmla="*/ 1757796 w 1793267"/>
                <a:gd name="connsiteY0" fmla="*/ 857250 h 962125"/>
                <a:gd name="connsiteX1" fmla="*/ 1637146 w 1793267"/>
                <a:gd name="connsiteY1" fmla="*/ 962025 h 962125"/>
                <a:gd name="connsiteX2" fmla="*/ 24246 w 1793267"/>
                <a:gd name="connsiteY2" fmla="*/ 838200 h 962125"/>
                <a:gd name="connsiteX3" fmla="*/ 664802 w 1793267"/>
                <a:gd name="connsiteY3" fmla="*/ 352425 h 962125"/>
                <a:gd name="connsiteX4" fmla="*/ 690996 w 1793267"/>
                <a:gd name="connsiteY4" fmla="*/ 0 h 962125"/>
                <a:gd name="connsiteX0" fmla="*/ 1759182 w 1794653"/>
                <a:gd name="connsiteY0" fmla="*/ 857250 h 962125"/>
                <a:gd name="connsiteX1" fmla="*/ 1638532 w 1794653"/>
                <a:gd name="connsiteY1" fmla="*/ 962025 h 962125"/>
                <a:gd name="connsiteX2" fmla="*/ 25632 w 1794653"/>
                <a:gd name="connsiteY2" fmla="*/ 838200 h 962125"/>
                <a:gd name="connsiteX3" fmla="*/ 647138 w 1794653"/>
                <a:gd name="connsiteY3" fmla="*/ 366712 h 962125"/>
                <a:gd name="connsiteX4" fmla="*/ 692382 w 1794653"/>
                <a:gd name="connsiteY4" fmla="*/ 0 h 962125"/>
                <a:gd name="connsiteX0" fmla="*/ 1758482 w 1793953"/>
                <a:gd name="connsiteY0" fmla="*/ 857250 h 962125"/>
                <a:gd name="connsiteX1" fmla="*/ 1637832 w 1793953"/>
                <a:gd name="connsiteY1" fmla="*/ 962025 h 962125"/>
                <a:gd name="connsiteX2" fmla="*/ 24932 w 1793953"/>
                <a:gd name="connsiteY2" fmla="*/ 838200 h 962125"/>
                <a:gd name="connsiteX3" fmla="*/ 655963 w 1793953"/>
                <a:gd name="connsiteY3" fmla="*/ 359568 h 962125"/>
                <a:gd name="connsiteX4" fmla="*/ 691682 w 1793953"/>
                <a:gd name="connsiteY4" fmla="*/ 0 h 962125"/>
                <a:gd name="connsiteX0" fmla="*/ 1758414 w 1793885"/>
                <a:gd name="connsiteY0" fmla="*/ 857250 h 962125"/>
                <a:gd name="connsiteX1" fmla="*/ 1637764 w 1793885"/>
                <a:gd name="connsiteY1" fmla="*/ 962025 h 962125"/>
                <a:gd name="connsiteX2" fmla="*/ 24864 w 1793885"/>
                <a:gd name="connsiteY2" fmla="*/ 838200 h 962125"/>
                <a:gd name="connsiteX3" fmla="*/ 655895 w 1793885"/>
                <a:gd name="connsiteY3" fmla="*/ 359568 h 962125"/>
                <a:gd name="connsiteX4" fmla="*/ 691614 w 1793885"/>
                <a:gd name="connsiteY4" fmla="*/ 0 h 962125"/>
                <a:gd name="connsiteX0" fmla="*/ 1758760 w 1794231"/>
                <a:gd name="connsiteY0" fmla="*/ 857250 h 962125"/>
                <a:gd name="connsiteX1" fmla="*/ 1638110 w 1794231"/>
                <a:gd name="connsiteY1" fmla="*/ 962025 h 962125"/>
                <a:gd name="connsiteX2" fmla="*/ 25210 w 1794231"/>
                <a:gd name="connsiteY2" fmla="*/ 838200 h 962125"/>
                <a:gd name="connsiteX3" fmla="*/ 651478 w 1794231"/>
                <a:gd name="connsiteY3" fmla="*/ 359568 h 962125"/>
                <a:gd name="connsiteX4" fmla="*/ 691960 w 1794231"/>
                <a:gd name="connsiteY4" fmla="*/ 0 h 962125"/>
                <a:gd name="connsiteX0" fmla="*/ 1759941 w 1795412"/>
                <a:gd name="connsiteY0" fmla="*/ 857250 h 962125"/>
                <a:gd name="connsiteX1" fmla="*/ 1639291 w 1795412"/>
                <a:gd name="connsiteY1" fmla="*/ 962025 h 962125"/>
                <a:gd name="connsiteX2" fmla="*/ 26391 w 1795412"/>
                <a:gd name="connsiteY2" fmla="*/ 838200 h 962125"/>
                <a:gd name="connsiteX3" fmla="*/ 652659 w 1795412"/>
                <a:gd name="connsiteY3" fmla="*/ 359568 h 962125"/>
                <a:gd name="connsiteX4" fmla="*/ 693141 w 1795412"/>
                <a:gd name="connsiteY4" fmla="*/ 0 h 962125"/>
                <a:gd name="connsiteX0" fmla="*/ 1759941 w 1795412"/>
                <a:gd name="connsiteY0" fmla="*/ 857250 h 962125"/>
                <a:gd name="connsiteX1" fmla="*/ 1639291 w 1795412"/>
                <a:gd name="connsiteY1" fmla="*/ 962025 h 962125"/>
                <a:gd name="connsiteX2" fmla="*/ 26391 w 1795412"/>
                <a:gd name="connsiteY2" fmla="*/ 838200 h 962125"/>
                <a:gd name="connsiteX3" fmla="*/ 652659 w 1795412"/>
                <a:gd name="connsiteY3" fmla="*/ 359568 h 962125"/>
                <a:gd name="connsiteX4" fmla="*/ 693141 w 1795412"/>
                <a:gd name="connsiteY4" fmla="*/ 0 h 962125"/>
                <a:gd name="connsiteX0" fmla="*/ 1759554 w 1795025"/>
                <a:gd name="connsiteY0" fmla="*/ 857250 h 962125"/>
                <a:gd name="connsiteX1" fmla="*/ 1638904 w 1795025"/>
                <a:gd name="connsiteY1" fmla="*/ 962025 h 962125"/>
                <a:gd name="connsiteX2" fmla="*/ 26004 w 1795025"/>
                <a:gd name="connsiteY2" fmla="*/ 838200 h 962125"/>
                <a:gd name="connsiteX3" fmla="*/ 652272 w 1795025"/>
                <a:gd name="connsiteY3" fmla="*/ 359568 h 962125"/>
                <a:gd name="connsiteX4" fmla="*/ 692754 w 1795025"/>
                <a:gd name="connsiteY4" fmla="*/ 0 h 962125"/>
                <a:gd name="connsiteX0" fmla="*/ 1696629 w 1727609"/>
                <a:gd name="connsiteY0" fmla="*/ 857250 h 962278"/>
                <a:gd name="connsiteX1" fmla="*/ 1575979 w 1727609"/>
                <a:gd name="connsiteY1" fmla="*/ 962025 h 962278"/>
                <a:gd name="connsiteX2" fmla="*/ 27373 w 1727609"/>
                <a:gd name="connsiteY2" fmla="*/ 826294 h 962278"/>
                <a:gd name="connsiteX3" fmla="*/ 589347 w 1727609"/>
                <a:gd name="connsiteY3" fmla="*/ 359568 h 962278"/>
                <a:gd name="connsiteX4" fmla="*/ 629829 w 1727609"/>
                <a:gd name="connsiteY4" fmla="*/ 0 h 962278"/>
                <a:gd name="connsiteX0" fmla="*/ 1704087 w 1735067"/>
                <a:gd name="connsiteY0" fmla="*/ 857250 h 962278"/>
                <a:gd name="connsiteX1" fmla="*/ 1583437 w 1735067"/>
                <a:gd name="connsiteY1" fmla="*/ 962025 h 962278"/>
                <a:gd name="connsiteX2" fmla="*/ 34831 w 1735067"/>
                <a:gd name="connsiteY2" fmla="*/ 826294 h 962278"/>
                <a:gd name="connsiteX3" fmla="*/ 596805 w 1735067"/>
                <a:gd name="connsiteY3" fmla="*/ 359568 h 962278"/>
                <a:gd name="connsiteX4" fmla="*/ 637287 w 1735067"/>
                <a:gd name="connsiteY4" fmla="*/ 0 h 962278"/>
                <a:gd name="connsiteX0" fmla="*/ 1685946 w 1716926"/>
                <a:gd name="connsiteY0" fmla="*/ 857250 h 962278"/>
                <a:gd name="connsiteX1" fmla="*/ 1565296 w 1716926"/>
                <a:gd name="connsiteY1" fmla="*/ 962025 h 962278"/>
                <a:gd name="connsiteX2" fmla="*/ 16690 w 1716926"/>
                <a:gd name="connsiteY2" fmla="*/ 826294 h 962278"/>
                <a:gd name="connsiteX3" fmla="*/ 578664 w 1716926"/>
                <a:gd name="connsiteY3" fmla="*/ 359568 h 962278"/>
                <a:gd name="connsiteX4" fmla="*/ 619146 w 1716926"/>
                <a:gd name="connsiteY4" fmla="*/ 0 h 962278"/>
                <a:gd name="connsiteX0" fmla="*/ 1716282 w 1749421"/>
                <a:gd name="connsiteY0" fmla="*/ 857250 h 962065"/>
                <a:gd name="connsiteX1" fmla="*/ 1595632 w 1749421"/>
                <a:gd name="connsiteY1" fmla="*/ 962025 h 962065"/>
                <a:gd name="connsiteX2" fmla="*/ 16070 w 1749421"/>
                <a:gd name="connsiteY2" fmla="*/ 845344 h 962065"/>
                <a:gd name="connsiteX3" fmla="*/ 609000 w 1749421"/>
                <a:gd name="connsiteY3" fmla="*/ 359568 h 962065"/>
                <a:gd name="connsiteX4" fmla="*/ 649482 w 1749421"/>
                <a:gd name="connsiteY4" fmla="*/ 0 h 962065"/>
                <a:gd name="connsiteX0" fmla="*/ 1716716 w 1749855"/>
                <a:gd name="connsiteY0" fmla="*/ 857250 h 962065"/>
                <a:gd name="connsiteX1" fmla="*/ 1596066 w 1749855"/>
                <a:gd name="connsiteY1" fmla="*/ 962025 h 962065"/>
                <a:gd name="connsiteX2" fmla="*/ 16504 w 1749855"/>
                <a:gd name="connsiteY2" fmla="*/ 845344 h 962065"/>
                <a:gd name="connsiteX3" fmla="*/ 609434 w 1749855"/>
                <a:gd name="connsiteY3" fmla="*/ 359568 h 962065"/>
                <a:gd name="connsiteX4" fmla="*/ 649916 w 1749855"/>
                <a:gd name="connsiteY4" fmla="*/ 0 h 962065"/>
                <a:gd name="connsiteX0" fmla="*/ 1716443 w 1749582"/>
                <a:gd name="connsiteY0" fmla="*/ 857250 h 962065"/>
                <a:gd name="connsiteX1" fmla="*/ 1595793 w 1749582"/>
                <a:gd name="connsiteY1" fmla="*/ 962025 h 962065"/>
                <a:gd name="connsiteX2" fmla="*/ 16231 w 1749582"/>
                <a:gd name="connsiteY2" fmla="*/ 845344 h 962065"/>
                <a:gd name="connsiteX3" fmla="*/ 609161 w 1749582"/>
                <a:gd name="connsiteY3" fmla="*/ 359568 h 962065"/>
                <a:gd name="connsiteX4" fmla="*/ 649643 w 1749582"/>
                <a:gd name="connsiteY4" fmla="*/ 0 h 962065"/>
                <a:gd name="connsiteX0" fmla="*/ 1702509 w 1735648"/>
                <a:gd name="connsiteY0" fmla="*/ 857250 h 962065"/>
                <a:gd name="connsiteX1" fmla="*/ 1581859 w 1735648"/>
                <a:gd name="connsiteY1" fmla="*/ 962025 h 962065"/>
                <a:gd name="connsiteX2" fmla="*/ 2297 w 1735648"/>
                <a:gd name="connsiteY2" fmla="*/ 845344 h 962065"/>
                <a:gd name="connsiteX3" fmla="*/ 595227 w 1735648"/>
                <a:gd name="connsiteY3" fmla="*/ 359568 h 962065"/>
                <a:gd name="connsiteX4" fmla="*/ 635709 w 1735648"/>
                <a:gd name="connsiteY4" fmla="*/ 0 h 962065"/>
                <a:gd name="connsiteX0" fmla="*/ 1702509 w 1735648"/>
                <a:gd name="connsiteY0" fmla="*/ 857250 h 962065"/>
                <a:gd name="connsiteX1" fmla="*/ 1581859 w 1735648"/>
                <a:gd name="connsiteY1" fmla="*/ 962025 h 962065"/>
                <a:gd name="connsiteX2" fmla="*/ 2297 w 1735648"/>
                <a:gd name="connsiteY2" fmla="*/ 845344 h 962065"/>
                <a:gd name="connsiteX3" fmla="*/ 595227 w 1735648"/>
                <a:gd name="connsiteY3" fmla="*/ 359568 h 962065"/>
                <a:gd name="connsiteX4" fmla="*/ 635709 w 1735648"/>
                <a:gd name="connsiteY4" fmla="*/ 0 h 962065"/>
                <a:gd name="connsiteX0" fmla="*/ 1681171 w 1712815"/>
                <a:gd name="connsiteY0" fmla="*/ 857250 h 962209"/>
                <a:gd name="connsiteX1" fmla="*/ 1560521 w 1712815"/>
                <a:gd name="connsiteY1" fmla="*/ 962025 h 962209"/>
                <a:gd name="connsiteX2" fmla="*/ 2390 w 1712815"/>
                <a:gd name="connsiteY2" fmla="*/ 831056 h 962209"/>
                <a:gd name="connsiteX3" fmla="*/ 573889 w 1712815"/>
                <a:gd name="connsiteY3" fmla="*/ 359568 h 962209"/>
                <a:gd name="connsiteX4" fmla="*/ 614371 w 1712815"/>
                <a:gd name="connsiteY4" fmla="*/ 0 h 962209"/>
                <a:gd name="connsiteX0" fmla="*/ 1681171 w 1712815"/>
                <a:gd name="connsiteY0" fmla="*/ 857250 h 962209"/>
                <a:gd name="connsiteX1" fmla="*/ 1560521 w 1712815"/>
                <a:gd name="connsiteY1" fmla="*/ 962025 h 962209"/>
                <a:gd name="connsiteX2" fmla="*/ 2390 w 1712815"/>
                <a:gd name="connsiteY2" fmla="*/ 831056 h 962209"/>
                <a:gd name="connsiteX3" fmla="*/ 573889 w 1712815"/>
                <a:gd name="connsiteY3" fmla="*/ 359568 h 962209"/>
                <a:gd name="connsiteX4" fmla="*/ 614371 w 1712815"/>
                <a:gd name="connsiteY4" fmla="*/ 0 h 962209"/>
                <a:gd name="connsiteX0" fmla="*/ 1681235 w 1712879"/>
                <a:gd name="connsiteY0" fmla="*/ 857250 h 962209"/>
                <a:gd name="connsiteX1" fmla="*/ 1560585 w 1712879"/>
                <a:gd name="connsiteY1" fmla="*/ 962025 h 962209"/>
                <a:gd name="connsiteX2" fmla="*/ 2454 w 1712879"/>
                <a:gd name="connsiteY2" fmla="*/ 831056 h 962209"/>
                <a:gd name="connsiteX3" fmla="*/ 573953 w 1712879"/>
                <a:gd name="connsiteY3" fmla="*/ 359568 h 962209"/>
                <a:gd name="connsiteX4" fmla="*/ 614435 w 1712879"/>
                <a:gd name="connsiteY4" fmla="*/ 0 h 962209"/>
                <a:gd name="connsiteX0" fmla="*/ 1678781 w 1710425"/>
                <a:gd name="connsiteY0" fmla="*/ 857250 h 962209"/>
                <a:gd name="connsiteX1" fmla="*/ 1558131 w 1710425"/>
                <a:gd name="connsiteY1" fmla="*/ 962025 h 962209"/>
                <a:gd name="connsiteX2" fmla="*/ 0 w 1710425"/>
                <a:gd name="connsiteY2" fmla="*/ 831056 h 962209"/>
                <a:gd name="connsiteX3" fmla="*/ 571499 w 1710425"/>
                <a:gd name="connsiteY3" fmla="*/ 359568 h 962209"/>
                <a:gd name="connsiteX4" fmla="*/ 611981 w 1710425"/>
                <a:gd name="connsiteY4" fmla="*/ 0 h 962209"/>
                <a:gd name="connsiteX0" fmla="*/ 1678781 w 1710425"/>
                <a:gd name="connsiteY0" fmla="*/ 857250 h 962209"/>
                <a:gd name="connsiteX1" fmla="*/ 1558131 w 1710425"/>
                <a:gd name="connsiteY1" fmla="*/ 962025 h 962209"/>
                <a:gd name="connsiteX2" fmla="*/ 0 w 1710425"/>
                <a:gd name="connsiteY2" fmla="*/ 831056 h 962209"/>
                <a:gd name="connsiteX3" fmla="*/ 571499 w 1710425"/>
                <a:gd name="connsiteY3" fmla="*/ 359568 h 962209"/>
                <a:gd name="connsiteX4" fmla="*/ 611981 w 1710425"/>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695450 w 1728256"/>
                <a:gd name="connsiteY0" fmla="*/ 857250 h 962278"/>
                <a:gd name="connsiteX1" fmla="*/ 1574800 w 1728256"/>
                <a:gd name="connsiteY1" fmla="*/ 962025 h 962278"/>
                <a:gd name="connsiteX2" fmla="*/ 0 w 1728256"/>
                <a:gd name="connsiteY2" fmla="*/ 826293 h 962278"/>
                <a:gd name="connsiteX3" fmla="*/ 588168 w 1728256"/>
                <a:gd name="connsiteY3" fmla="*/ 359568 h 962278"/>
                <a:gd name="connsiteX4" fmla="*/ 628650 w 1728256"/>
                <a:gd name="connsiteY4" fmla="*/ 0 h 962278"/>
                <a:gd name="connsiteX0" fmla="*/ 1696407 w 1729213"/>
                <a:gd name="connsiteY0" fmla="*/ 857250 h 962278"/>
                <a:gd name="connsiteX1" fmla="*/ 1575757 w 1729213"/>
                <a:gd name="connsiteY1" fmla="*/ 962025 h 962278"/>
                <a:gd name="connsiteX2" fmla="*/ 957 w 1729213"/>
                <a:gd name="connsiteY2" fmla="*/ 826293 h 962278"/>
                <a:gd name="connsiteX3" fmla="*/ 589125 w 1729213"/>
                <a:gd name="connsiteY3" fmla="*/ 359568 h 962278"/>
                <a:gd name="connsiteX4" fmla="*/ 629607 w 1729213"/>
                <a:gd name="connsiteY4" fmla="*/ 0 h 962278"/>
                <a:gd name="connsiteX0" fmla="*/ 1715446 w 1749584"/>
                <a:gd name="connsiteY0" fmla="*/ 857250 h 962178"/>
                <a:gd name="connsiteX1" fmla="*/ 1594796 w 1749584"/>
                <a:gd name="connsiteY1" fmla="*/ 962025 h 962178"/>
                <a:gd name="connsiteX2" fmla="*/ 946 w 1749584"/>
                <a:gd name="connsiteY2" fmla="*/ 833436 h 962178"/>
                <a:gd name="connsiteX3" fmla="*/ 608164 w 1749584"/>
                <a:gd name="connsiteY3" fmla="*/ 359568 h 962178"/>
                <a:gd name="connsiteX4" fmla="*/ 648646 w 1749584"/>
                <a:gd name="connsiteY4" fmla="*/ 0 h 962178"/>
                <a:gd name="connsiteX0" fmla="*/ 1737332 w 1754060"/>
                <a:gd name="connsiteY0" fmla="*/ 857250 h 962031"/>
                <a:gd name="connsiteX1" fmla="*/ 1616682 w 1754060"/>
                <a:gd name="connsiteY1" fmla="*/ 962025 h 962031"/>
                <a:gd name="connsiteX2" fmla="*/ 275392 w 1754060"/>
                <a:gd name="connsiteY2" fmla="*/ 862217 h 962031"/>
                <a:gd name="connsiteX3" fmla="*/ 22832 w 1754060"/>
                <a:gd name="connsiteY3" fmla="*/ 833436 h 962031"/>
                <a:gd name="connsiteX4" fmla="*/ 630050 w 1754060"/>
                <a:gd name="connsiteY4" fmla="*/ 359568 h 962031"/>
                <a:gd name="connsiteX5" fmla="*/ 670532 w 1754060"/>
                <a:gd name="connsiteY5" fmla="*/ 0 h 962031"/>
                <a:gd name="connsiteX0" fmla="*/ 1730806 w 1747534"/>
                <a:gd name="connsiteY0" fmla="*/ 857250 h 962031"/>
                <a:gd name="connsiteX1" fmla="*/ 1610156 w 1747534"/>
                <a:gd name="connsiteY1" fmla="*/ 962025 h 962031"/>
                <a:gd name="connsiteX2" fmla="*/ 268866 w 1747534"/>
                <a:gd name="connsiteY2" fmla="*/ 862217 h 962031"/>
                <a:gd name="connsiteX3" fmla="*/ 16306 w 1747534"/>
                <a:gd name="connsiteY3" fmla="*/ 833436 h 962031"/>
                <a:gd name="connsiteX4" fmla="*/ 623524 w 1747534"/>
                <a:gd name="connsiteY4" fmla="*/ 359568 h 962031"/>
                <a:gd name="connsiteX5" fmla="*/ 664006 w 1747534"/>
                <a:gd name="connsiteY5" fmla="*/ 0 h 962031"/>
                <a:gd name="connsiteX0" fmla="*/ 1676823 w 1693551"/>
                <a:gd name="connsiteY0" fmla="*/ 857250 h 962031"/>
                <a:gd name="connsiteX1" fmla="*/ 1556173 w 1693551"/>
                <a:gd name="connsiteY1" fmla="*/ 962025 h 962031"/>
                <a:gd name="connsiteX2" fmla="*/ 214883 w 1693551"/>
                <a:gd name="connsiteY2" fmla="*/ 862217 h 962031"/>
                <a:gd name="connsiteX3" fmla="*/ 24235 w 1693551"/>
                <a:gd name="connsiteY3" fmla="*/ 781049 h 962031"/>
                <a:gd name="connsiteX4" fmla="*/ 569541 w 1693551"/>
                <a:gd name="connsiteY4" fmla="*/ 359568 h 962031"/>
                <a:gd name="connsiteX5" fmla="*/ 610023 w 1693551"/>
                <a:gd name="connsiteY5"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8445 w 1701973"/>
                <a:gd name="connsiteY5"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20975 w 1701973"/>
                <a:gd name="connsiteY5" fmla="*/ 164512 h 962031"/>
                <a:gd name="connsiteX6" fmla="*/ 618445 w 1701973"/>
                <a:gd name="connsiteY6" fmla="*/ 0 h 962031"/>
                <a:gd name="connsiteX0" fmla="*/ 1685245 w 1685245"/>
                <a:gd name="connsiteY0" fmla="*/ 857250 h 959650"/>
                <a:gd name="connsiteX1" fmla="*/ 1457439 w 1685245"/>
                <a:gd name="connsiteY1" fmla="*/ 959644 h 959650"/>
                <a:gd name="connsiteX2" fmla="*/ 223305 w 1685245"/>
                <a:gd name="connsiteY2" fmla="*/ 862217 h 959650"/>
                <a:gd name="connsiteX3" fmla="*/ 32657 w 1685245"/>
                <a:gd name="connsiteY3" fmla="*/ 781049 h 959650"/>
                <a:gd name="connsiteX4" fmla="*/ 577963 w 1685245"/>
                <a:gd name="connsiteY4" fmla="*/ 359568 h 959650"/>
                <a:gd name="connsiteX5" fmla="*/ 620975 w 1685245"/>
                <a:gd name="connsiteY5" fmla="*/ 164512 h 959650"/>
                <a:gd name="connsiteX6" fmla="*/ 618445 w 1685245"/>
                <a:gd name="connsiteY6" fmla="*/ 0 h 959650"/>
                <a:gd name="connsiteX0" fmla="*/ 1685245 w 1685245"/>
                <a:gd name="connsiteY0" fmla="*/ 857250 h 961822"/>
                <a:gd name="connsiteX1" fmla="*/ 1616337 w 1685245"/>
                <a:gd name="connsiteY1" fmla="*/ 924131 h 961822"/>
                <a:gd name="connsiteX2" fmla="*/ 1457439 w 1685245"/>
                <a:gd name="connsiteY2" fmla="*/ 959644 h 961822"/>
                <a:gd name="connsiteX3" fmla="*/ 223305 w 1685245"/>
                <a:gd name="connsiteY3" fmla="*/ 862217 h 961822"/>
                <a:gd name="connsiteX4" fmla="*/ 32657 w 1685245"/>
                <a:gd name="connsiteY4" fmla="*/ 781049 h 961822"/>
                <a:gd name="connsiteX5" fmla="*/ 577963 w 1685245"/>
                <a:gd name="connsiteY5" fmla="*/ 359568 h 961822"/>
                <a:gd name="connsiteX6" fmla="*/ 620975 w 1685245"/>
                <a:gd name="connsiteY6" fmla="*/ 164512 h 961822"/>
                <a:gd name="connsiteX7" fmla="*/ 618445 w 1685245"/>
                <a:gd name="connsiteY7" fmla="*/ 0 h 961822"/>
                <a:gd name="connsiteX0" fmla="*/ 1685245 w 1685245"/>
                <a:gd name="connsiteY0" fmla="*/ 857250 h 953018"/>
                <a:gd name="connsiteX1" fmla="*/ 1616337 w 1685245"/>
                <a:gd name="connsiteY1" fmla="*/ 924131 h 953018"/>
                <a:gd name="connsiteX2" fmla="*/ 1414576 w 1685245"/>
                <a:gd name="connsiteY2" fmla="*/ 950119 h 953018"/>
                <a:gd name="connsiteX3" fmla="*/ 223305 w 1685245"/>
                <a:gd name="connsiteY3" fmla="*/ 862217 h 953018"/>
                <a:gd name="connsiteX4" fmla="*/ 32657 w 1685245"/>
                <a:gd name="connsiteY4" fmla="*/ 781049 h 953018"/>
                <a:gd name="connsiteX5" fmla="*/ 577963 w 1685245"/>
                <a:gd name="connsiteY5" fmla="*/ 359568 h 953018"/>
                <a:gd name="connsiteX6" fmla="*/ 620975 w 1685245"/>
                <a:gd name="connsiteY6" fmla="*/ 164512 h 953018"/>
                <a:gd name="connsiteX7" fmla="*/ 618445 w 1685245"/>
                <a:gd name="connsiteY7" fmla="*/ 0 h 953018"/>
                <a:gd name="connsiteX0" fmla="*/ 1685245 w 1685245"/>
                <a:gd name="connsiteY0" fmla="*/ 857250 h 956840"/>
                <a:gd name="connsiteX1" fmla="*/ 1616337 w 1685245"/>
                <a:gd name="connsiteY1" fmla="*/ 924131 h 956840"/>
                <a:gd name="connsiteX2" fmla="*/ 1414576 w 1685245"/>
                <a:gd name="connsiteY2" fmla="*/ 950119 h 956840"/>
                <a:gd name="connsiteX3" fmla="*/ 223305 w 1685245"/>
                <a:gd name="connsiteY3" fmla="*/ 862217 h 956840"/>
                <a:gd name="connsiteX4" fmla="*/ 32657 w 1685245"/>
                <a:gd name="connsiteY4" fmla="*/ 781049 h 956840"/>
                <a:gd name="connsiteX5" fmla="*/ 577963 w 1685245"/>
                <a:gd name="connsiteY5" fmla="*/ 359568 h 956840"/>
                <a:gd name="connsiteX6" fmla="*/ 620975 w 1685245"/>
                <a:gd name="connsiteY6" fmla="*/ 164512 h 956840"/>
                <a:gd name="connsiteX7" fmla="*/ 618445 w 1685245"/>
                <a:gd name="connsiteY7" fmla="*/ 0 h 956840"/>
                <a:gd name="connsiteX0" fmla="*/ 1685245 w 1685245"/>
                <a:gd name="connsiteY0" fmla="*/ 857250 h 958892"/>
                <a:gd name="connsiteX1" fmla="*/ 1616337 w 1685245"/>
                <a:gd name="connsiteY1" fmla="*/ 924131 h 958892"/>
                <a:gd name="connsiteX2" fmla="*/ 14193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4193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18594 w 1685245"/>
                <a:gd name="connsiteY6" fmla="*/ 178799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18445 w 1685245"/>
                <a:gd name="connsiteY6" fmla="*/ 0 h 958892"/>
                <a:gd name="connsiteX0" fmla="*/ 1685245 w 1685245"/>
                <a:gd name="connsiteY0" fmla="*/ 497682 h 599324"/>
                <a:gd name="connsiteX1" fmla="*/ 1616337 w 1685245"/>
                <a:gd name="connsiteY1" fmla="*/ 564563 h 599324"/>
                <a:gd name="connsiteX2" fmla="*/ 1381238 w 1685245"/>
                <a:gd name="connsiteY2" fmla="*/ 592932 h 599324"/>
                <a:gd name="connsiteX3" fmla="*/ 223305 w 1685245"/>
                <a:gd name="connsiteY3" fmla="*/ 502649 h 599324"/>
                <a:gd name="connsiteX4" fmla="*/ 32657 w 1685245"/>
                <a:gd name="connsiteY4" fmla="*/ 421481 h 599324"/>
                <a:gd name="connsiteX5" fmla="*/ 577963 w 1685245"/>
                <a:gd name="connsiteY5" fmla="*/ 0 h 599324"/>
                <a:gd name="connsiteX0" fmla="*/ 1660892 w 1660892"/>
                <a:gd name="connsiteY0" fmla="*/ 497682 h 592932"/>
                <a:gd name="connsiteX1" fmla="*/ 1591984 w 1660892"/>
                <a:gd name="connsiteY1" fmla="*/ 564563 h 592932"/>
                <a:gd name="connsiteX2" fmla="*/ 1356885 w 1660892"/>
                <a:gd name="connsiteY2" fmla="*/ 592932 h 592932"/>
                <a:gd name="connsiteX3" fmla="*/ 1020483 w 1660892"/>
                <a:gd name="connsiteY3" fmla="*/ 564561 h 592932"/>
                <a:gd name="connsiteX4" fmla="*/ 8304 w 1660892"/>
                <a:gd name="connsiteY4" fmla="*/ 421481 h 592932"/>
                <a:gd name="connsiteX5" fmla="*/ 553610 w 1660892"/>
                <a:gd name="connsiteY5" fmla="*/ 0 h 592932"/>
                <a:gd name="connsiteX0" fmla="*/ 1143582 w 1143582"/>
                <a:gd name="connsiteY0" fmla="*/ 497682 h 592932"/>
                <a:gd name="connsiteX1" fmla="*/ 1074674 w 1143582"/>
                <a:gd name="connsiteY1" fmla="*/ 564563 h 592932"/>
                <a:gd name="connsiteX2" fmla="*/ 839575 w 1143582"/>
                <a:gd name="connsiteY2" fmla="*/ 592932 h 592932"/>
                <a:gd name="connsiteX3" fmla="*/ 503173 w 1143582"/>
                <a:gd name="connsiteY3" fmla="*/ 564561 h 592932"/>
                <a:gd name="connsiteX4" fmla="*/ 245850 w 1143582"/>
                <a:gd name="connsiteY4" fmla="*/ 483394 h 592932"/>
                <a:gd name="connsiteX5" fmla="*/ 36300 w 1143582"/>
                <a:gd name="connsiteY5" fmla="*/ 0 h 592932"/>
                <a:gd name="connsiteX0" fmla="*/ 927557 w 927557"/>
                <a:gd name="connsiteY0" fmla="*/ 59532 h 154782"/>
                <a:gd name="connsiteX1" fmla="*/ 858649 w 927557"/>
                <a:gd name="connsiteY1" fmla="*/ 126413 h 154782"/>
                <a:gd name="connsiteX2" fmla="*/ 623550 w 927557"/>
                <a:gd name="connsiteY2" fmla="*/ 154782 h 154782"/>
                <a:gd name="connsiteX3" fmla="*/ 287148 w 927557"/>
                <a:gd name="connsiteY3" fmla="*/ 126411 h 154782"/>
                <a:gd name="connsiteX4" fmla="*/ 29825 w 927557"/>
                <a:gd name="connsiteY4" fmla="*/ 45244 h 154782"/>
                <a:gd name="connsiteX5" fmla="*/ 94119 w 927557"/>
                <a:gd name="connsiteY5" fmla="*/ 0 h 154782"/>
                <a:gd name="connsiteX0" fmla="*/ 927557 w 927557"/>
                <a:gd name="connsiteY0" fmla="*/ 59532 h 154782"/>
                <a:gd name="connsiteX1" fmla="*/ 858649 w 927557"/>
                <a:gd name="connsiteY1" fmla="*/ 126413 h 154782"/>
                <a:gd name="connsiteX2" fmla="*/ 623550 w 927557"/>
                <a:gd name="connsiteY2" fmla="*/ 154782 h 154782"/>
                <a:gd name="connsiteX3" fmla="*/ 287148 w 927557"/>
                <a:gd name="connsiteY3" fmla="*/ 126411 h 154782"/>
                <a:gd name="connsiteX4" fmla="*/ 29825 w 927557"/>
                <a:gd name="connsiteY4" fmla="*/ 45244 h 154782"/>
                <a:gd name="connsiteX5" fmla="*/ 94119 w 927557"/>
                <a:gd name="connsiteY5" fmla="*/ 0 h 154782"/>
                <a:gd name="connsiteX0" fmla="*/ 928869 w 928869"/>
                <a:gd name="connsiteY0" fmla="*/ 59532 h 154782"/>
                <a:gd name="connsiteX1" fmla="*/ 859961 w 928869"/>
                <a:gd name="connsiteY1" fmla="*/ 126413 h 154782"/>
                <a:gd name="connsiteX2" fmla="*/ 624862 w 928869"/>
                <a:gd name="connsiteY2" fmla="*/ 154782 h 154782"/>
                <a:gd name="connsiteX3" fmla="*/ 288460 w 928869"/>
                <a:gd name="connsiteY3" fmla="*/ 126411 h 154782"/>
                <a:gd name="connsiteX4" fmla="*/ 31137 w 928869"/>
                <a:gd name="connsiteY4" fmla="*/ 45244 h 154782"/>
                <a:gd name="connsiteX5" fmla="*/ 95431 w 928869"/>
                <a:gd name="connsiteY5" fmla="*/ 0 h 154782"/>
                <a:gd name="connsiteX0" fmla="*/ 928869 w 928869"/>
                <a:gd name="connsiteY0" fmla="*/ 59532 h 154782"/>
                <a:gd name="connsiteX1" fmla="*/ 859961 w 928869"/>
                <a:gd name="connsiteY1" fmla="*/ 126413 h 154782"/>
                <a:gd name="connsiteX2" fmla="*/ 624862 w 928869"/>
                <a:gd name="connsiteY2" fmla="*/ 154782 h 154782"/>
                <a:gd name="connsiteX3" fmla="*/ 288460 w 928869"/>
                <a:gd name="connsiteY3" fmla="*/ 126411 h 154782"/>
                <a:gd name="connsiteX4" fmla="*/ 31137 w 928869"/>
                <a:gd name="connsiteY4" fmla="*/ 45244 h 154782"/>
                <a:gd name="connsiteX5" fmla="*/ 95431 w 928869"/>
                <a:gd name="connsiteY5" fmla="*/ 0 h 154782"/>
                <a:gd name="connsiteX0" fmla="*/ 928869 w 928869"/>
                <a:gd name="connsiteY0" fmla="*/ 59532 h 162179"/>
                <a:gd name="connsiteX1" fmla="*/ 859961 w 928869"/>
                <a:gd name="connsiteY1" fmla="*/ 126413 h 162179"/>
                <a:gd name="connsiteX2" fmla="*/ 624862 w 928869"/>
                <a:gd name="connsiteY2" fmla="*/ 154782 h 162179"/>
                <a:gd name="connsiteX3" fmla="*/ 288460 w 928869"/>
                <a:gd name="connsiteY3" fmla="*/ 126411 h 162179"/>
                <a:gd name="connsiteX4" fmla="*/ 31137 w 928869"/>
                <a:gd name="connsiteY4" fmla="*/ 45244 h 162179"/>
                <a:gd name="connsiteX5" fmla="*/ 95431 w 928869"/>
                <a:gd name="connsiteY5" fmla="*/ 0 h 162179"/>
                <a:gd name="connsiteX0" fmla="*/ 928869 w 928869"/>
                <a:gd name="connsiteY0" fmla="*/ 59532 h 164840"/>
                <a:gd name="connsiteX1" fmla="*/ 859961 w 928869"/>
                <a:gd name="connsiteY1" fmla="*/ 126413 h 164840"/>
                <a:gd name="connsiteX2" fmla="*/ 624862 w 928869"/>
                <a:gd name="connsiteY2" fmla="*/ 154782 h 164840"/>
                <a:gd name="connsiteX3" fmla="*/ 288460 w 928869"/>
                <a:gd name="connsiteY3" fmla="*/ 126411 h 164840"/>
                <a:gd name="connsiteX4" fmla="*/ 31137 w 928869"/>
                <a:gd name="connsiteY4" fmla="*/ 45244 h 164840"/>
                <a:gd name="connsiteX5" fmla="*/ 95431 w 928869"/>
                <a:gd name="connsiteY5" fmla="*/ 0 h 164840"/>
                <a:gd name="connsiteX0" fmla="*/ 928869 w 928869"/>
                <a:gd name="connsiteY0" fmla="*/ 59532 h 166155"/>
                <a:gd name="connsiteX1" fmla="*/ 859961 w 928869"/>
                <a:gd name="connsiteY1" fmla="*/ 126413 h 166155"/>
                <a:gd name="connsiteX2" fmla="*/ 691537 w 928869"/>
                <a:gd name="connsiteY2" fmla="*/ 157164 h 166155"/>
                <a:gd name="connsiteX3" fmla="*/ 288460 w 928869"/>
                <a:gd name="connsiteY3" fmla="*/ 126411 h 166155"/>
                <a:gd name="connsiteX4" fmla="*/ 31137 w 928869"/>
                <a:gd name="connsiteY4" fmla="*/ 45244 h 166155"/>
                <a:gd name="connsiteX5" fmla="*/ 95431 w 928869"/>
                <a:gd name="connsiteY5" fmla="*/ 0 h 166155"/>
                <a:gd name="connsiteX0" fmla="*/ 928869 w 928869"/>
                <a:gd name="connsiteY0" fmla="*/ 59532 h 162522"/>
                <a:gd name="connsiteX1" fmla="*/ 859961 w 928869"/>
                <a:gd name="connsiteY1" fmla="*/ 126413 h 162522"/>
                <a:gd name="connsiteX2" fmla="*/ 691537 w 928869"/>
                <a:gd name="connsiteY2" fmla="*/ 157164 h 162522"/>
                <a:gd name="connsiteX3" fmla="*/ 288460 w 928869"/>
                <a:gd name="connsiteY3" fmla="*/ 126411 h 162522"/>
                <a:gd name="connsiteX4" fmla="*/ 31137 w 928869"/>
                <a:gd name="connsiteY4" fmla="*/ 45244 h 162522"/>
                <a:gd name="connsiteX5" fmla="*/ 95431 w 928869"/>
                <a:gd name="connsiteY5" fmla="*/ 0 h 162522"/>
                <a:gd name="connsiteX0" fmla="*/ 928869 w 1436982"/>
                <a:gd name="connsiteY0" fmla="*/ 59532 h 208314"/>
                <a:gd name="connsiteX1" fmla="*/ 1436223 w 1436982"/>
                <a:gd name="connsiteY1" fmla="*/ 193088 h 208314"/>
                <a:gd name="connsiteX2" fmla="*/ 691537 w 1436982"/>
                <a:gd name="connsiteY2" fmla="*/ 157164 h 208314"/>
                <a:gd name="connsiteX3" fmla="*/ 288460 w 1436982"/>
                <a:gd name="connsiteY3" fmla="*/ 126411 h 208314"/>
                <a:gd name="connsiteX4" fmla="*/ 31137 w 1436982"/>
                <a:gd name="connsiteY4" fmla="*/ 45244 h 208314"/>
                <a:gd name="connsiteX5" fmla="*/ 95431 w 1436982"/>
                <a:gd name="connsiteY5" fmla="*/ 0 h 208314"/>
                <a:gd name="connsiteX0" fmla="*/ 1452744 w 1452744"/>
                <a:gd name="connsiteY0" fmla="*/ 369094 h 369487"/>
                <a:gd name="connsiteX1" fmla="*/ 1436223 w 1452744"/>
                <a:gd name="connsiteY1" fmla="*/ 193088 h 369487"/>
                <a:gd name="connsiteX2" fmla="*/ 691537 w 1452744"/>
                <a:gd name="connsiteY2" fmla="*/ 157164 h 369487"/>
                <a:gd name="connsiteX3" fmla="*/ 288460 w 1452744"/>
                <a:gd name="connsiteY3" fmla="*/ 126411 h 369487"/>
                <a:gd name="connsiteX4" fmla="*/ 31137 w 1452744"/>
                <a:gd name="connsiteY4" fmla="*/ 45244 h 369487"/>
                <a:gd name="connsiteX5" fmla="*/ 95431 w 1452744"/>
                <a:gd name="connsiteY5" fmla="*/ 0 h 369487"/>
                <a:gd name="connsiteX0" fmla="*/ 1452744 w 1475205"/>
                <a:gd name="connsiteY0" fmla="*/ 369094 h 369556"/>
                <a:gd name="connsiteX1" fmla="*/ 1436223 w 1475205"/>
                <a:gd name="connsiteY1" fmla="*/ 193088 h 369556"/>
                <a:gd name="connsiteX2" fmla="*/ 691537 w 1475205"/>
                <a:gd name="connsiteY2" fmla="*/ 157164 h 369556"/>
                <a:gd name="connsiteX3" fmla="*/ 288460 w 1475205"/>
                <a:gd name="connsiteY3" fmla="*/ 126411 h 369556"/>
                <a:gd name="connsiteX4" fmla="*/ 31137 w 1475205"/>
                <a:gd name="connsiteY4" fmla="*/ 45244 h 369556"/>
                <a:gd name="connsiteX5" fmla="*/ 95431 w 1475205"/>
                <a:gd name="connsiteY5" fmla="*/ 0 h 369556"/>
                <a:gd name="connsiteX0" fmla="*/ 1452744 w 1492046"/>
                <a:gd name="connsiteY0" fmla="*/ 369094 h 369545"/>
                <a:gd name="connsiteX1" fmla="*/ 1436223 w 1492046"/>
                <a:gd name="connsiteY1" fmla="*/ 193088 h 369545"/>
                <a:gd name="connsiteX2" fmla="*/ 691537 w 1492046"/>
                <a:gd name="connsiteY2" fmla="*/ 157164 h 369545"/>
                <a:gd name="connsiteX3" fmla="*/ 288460 w 1492046"/>
                <a:gd name="connsiteY3" fmla="*/ 126411 h 369545"/>
                <a:gd name="connsiteX4" fmla="*/ 31137 w 1492046"/>
                <a:gd name="connsiteY4" fmla="*/ 45244 h 369545"/>
                <a:gd name="connsiteX5" fmla="*/ 95431 w 1492046"/>
                <a:gd name="connsiteY5" fmla="*/ 0 h 369545"/>
                <a:gd name="connsiteX0" fmla="*/ 1452744 w 1462754"/>
                <a:gd name="connsiteY0" fmla="*/ 369094 h 369545"/>
                <a:gd name="connsiteX1" fmla="*/ 1388598 w 1462754"/>
                <a:gd name="connsiteY1" fmla="*/ 193088 h 369545"/>
                <a:gd name="connsiteX2" fmla="*/ 691537 w 1462754"/>
                <a:gd name="connsiteY2" fmla="*/ 157164 h 369545"/>
                <a:gd name="connsiteX3" fmla="*/ 288460 w 1462754"/>
                <a:gd name="connsiteY3" fmla="*/ 126411 h 369545"/>
                <a:gd name="connsiteX4" fmla="*/ 31137 w 1462754"/>
                <a:gd name="connsiteY4" fmla="*/ 45244 h 369545"/>
                <a:gd name="connsiteX5" fmla="*/ 95431 w 1462754"/>
                <a:gd name="connsiteY5" fmla="*/ 0 h 369545"/>
                <a:gd name="connsiteX0" fmla="*/ 1462269 w 1471201"/>
                <a:gd name="connsiteY0" fmla="*/ 359569 h 360142"/>
                <a:gd name="connsiteX1" fmla="*/ 1388598 w 1471201"/>
                <a:gd name="connsiteY1" fmla="*/ 193088 h 360142"/>
                <a:gd name="connsiteX2" fmla="*/ 691537 w 1471201"/>
                <a:gd name="connsiteY2" fmla="*/ 157164 h 360142"/>
                <a:gd name="connsiteX3" fmla="*/ 288460 w 1471201"/>
                <a:gd name="connsiteY3" fmla="*/ 126411 h 360142"/>
                <a:gd name="connsiteX4" fmla="*/ 31137 w 1471201"/>
                <a:gd name="connsiteY4" fmla="*/ 45244 h 360142"/>
                <a:gd name="connsiteX5" fmla="*/ 95431 w 1471201"/>
                <a:gd name="connsiteY5" fmla="*/ 0 h 360142"/>
                <a:gd name="connsiteX0" fmla="*/ 1462269 w 1471201"/>
                <a:gd name="connsiteY0" fmla="*/ 359569 h 360225"/>
                <a:gd name="connsiteX1" fmla="*/ 1388598 w 1471201"/>
                <a:gd name="connsiteY1" fmla="*/ 212138 h 360225"/>
                <a:gd name="connsiteX2" fmla="*/ 691537 w 1471201"/>
                <a:gd name="connsiteY2" fmla="*/ 157164 h 360225"/>
                <a:gd name="connsiteX3" fmla="*/ 288460 w 1471201"/>
                <a:gd name="connsiteY3" fmla="*/ 126411 h 360225"/>
                <a:gd name="connsiteX4" fmla="*/ 31137 w 1471201"/>
                <a:gd name="connsiteY4" fmla="*/ 45244 h 360225"/>
                <a:gd name="connsiteX5" fmla="*/ 95431 w 1471201"/>
                <a:gd name="connsiteY5" fmla="*/ 0 h 360225"/>
                <a:gd name="connsiteX0" fmla="*/ 1462269 w 1471201"/>
                <a:gd name="connsiteY0" fmla="*/ 359569 h 360225"/>
                <a:gd name="connsiteX1" fmla="*/ 1388598 w 1471201"/>
                <a:gd name="connsiteY1" fmla="*/ 212138 h 360225"/>
                <a:gd name="connsiteX2" fmla="*/ 691537 w 1471201"/>
                <a:gd name="connsiteY2" fmla="*/ 157164 h 360225"/>
                <a:gd name="connsiteX3" fmla="*/ 288460 w 1471201"/>
                <a:gd name="connsiteY3" fmla="*/ 126411 h 360225"/>
                <a:gd name="connsiteX4" fmla="*/ 31137 w 1471201"/>
                <a:gd name="connsiteY4" fmla="*/ 45244 h 360225"/>
                <a:gd name="connsiteX5" fmla="*/ 95431 w 1471201"/>
                <a:gd name="connsiteY5" fmla="*/ 0 h 360225"/>
                <a:gd name="connsiteX0" fmla="*/ 1462269 w 1619896"/>
                <a:gd name="connsiteY0" fmla="*/ 359569 h 360319"/>
                <a:gd name="connsiteX1" fmla="*/ 1583860 w 1619896"/>
                <a:gd name="connsiteY1" fmla="*/ 228807 h 360319"/>
                <a:gd name="connsiteX2" fmla="*/ 691537 w 1619896"/>
                <a:gd name="connsiteY2" fmla="*/ 157164 h 360319"/>
                <a:gd name="connsiteX3" fmla="*/ 288460 w 1619896"/>
                <a:gd name="connsiteY3" fmla="*/ 126411 h 360319"/>
                <a:gd name="connsiteX4" fmla="*/ 31137 w 1619896"/>
                <a:gd name="connsiteY4" fmla="*/ 45244 h 360319"/>
                <a:gd name="connsiteX5" fmla="*/ 95431 w 1619896"/>
                <a:gd name="connsiteY5" fmla="*/ 0 h 360319"/>
                <a:gd name="connsiteX0" fmla="*/ 1526563 w 1632698"/>
                <a:gd name="connsiteY0" fmla="*/ 345281 h 346117"/>
                <a:gd name="connsiteX1" fmla="*/ 1583860 w 1632698"/>
                <a:gd name="connsiteY1" fmla="*/ 228807 h 346117"/>
                <a:gd name="connsiteX2" fmla="*/ 691537 w 1632698"/>
                <a:gd name="connsiteY2" fmla="*/ 157164 h 346117"/>
                <a:gd name="connsiteX3" fmla="*/ 288460 w 1632698"/>
                <a:gd name="connsiteY3" fmla="*/ 126411 h 346117"/>
                <a:gd name="connsiteX4" fmla="*/ 31137 w 1632698"/>
                <a:gd name="connsiteY4" fmla="*/ 45244 h 346117"/>
                <a:gd name="connsiteX5" fmla="*/ 95431 w 1632698"/>
                <a:gd name="connsiteY5" fmla="*/ 0 h 346117"/>
                <a:gd name="connsiteX0" fmla="*/ 1502750 w 1627459"/>
                <a:gd name="connsiteY0" fmla="*/ 357187 h 357950"/>
                <a:gd name="connsiteX1" fmla="*/ 1583860 w 1627459"/>
                <a:gd name="connsiteY1" fmla="*/ 228807 h 357950"/>
                <a:gd name="connsiteX2" fmla="*/ 691537 w 1627459"/>
                <a:gd name="connsiteY2" fmla="*/ 157164 h 357950"/>
                <a:gd name="connsiteX3" fmla="*/ 288460 w 1627459"/>
                <a:gd name="connsiteY3" fmla="*/ 126411 h 357950"/>
                <a:gd name="connsiteX4" fmla="*/ 31137 w 1627459"/>
                <a:gd name="connsiteY4" fmla="*/ 45244 h 357950"/>
                <a:gd name="connsiteX5" fmla="*/ 95431 w 1627459"/>
                <a:gd name="connsiteY5" fmla="*/ 0 h 35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7459" h="357950">
                  <a:moveTo>
                    <a:pt x="1502750" y="357187"/>
                  </a:moveTo>
                  <a:cubicBezTo>
                    <a:pt x="1496028" y="367937"/>
                    <a:pt x="1719062" y="262144"/>
                    <a:pt x="1583860" y="228807"/>
                  </a:cubicBezTo>
                  <a:cubicBezTo>
                    <a:pt x="1448658" y="195470"/>
                    <a:pt x="907437" y="174230"/>
                    <a:pt x="691537" y="157164"/>
                  </a:cubicBezTo>
                  <a:lnTo>
                    <a:pt x="288460" y="126411"/>
                  </a:lnTo>
                  <a:cubicBezTo>
                    <a:pt x="82349" y="109743"/>
                    <a:pt x="-67660" y="116318"/>
                    <a:pt x="31137" y="45244"/>
                  </a:cubicBezTo>
                  <a:cubicBezTo>
                    <a:pt x="62354" y="22787"/>
                    <a:pt x="-36332" y="102792"/>
                    <a:pt x="95431" y="0"/>
                  </a:cubicBezTo>
                </a:path>
              </a:pathLst>
            </a:custGeom>
            <a:noFill/>
            <a:ln w="57150">
              <a:solidFill>
                <a:srgbClr val="4BD65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5" name="Freihandform 24"/>
            <p:cNvSpPr/>
            <p:nvPr/>
          </p:nvSpPr>
          <p:spPr>
            <a:xfrm>
              <a:off x="664901" y="2931114"/>
              <a:ext cx="1685245" cy="961982"/>
            </a:xfrm>
            <a:custGeom>
              <a:avLst/>
              <a:gdLst>
                <a:gd name="connsiteX0" fmla="*/ 1733550 w 1733550"/>
                <a:gd name="connsiteY0" fmla="*/ 857250 h 962025"/>
                <a:gd name="connsiteX1" fmla="*/ 1612900 w 1733550"/>
                <a:gd name="connsiteY1" fmla="*/ 962025 h 962025"/>
                <a:gd name="connsiteX2" fmla="*/ 0 w 1733550"/>
                <a:gd name="connsiteY2" fmla="*/ 838200 h 962025"/>
                <a:gd name="connsiteX3" fmla="*/ 666750 w 1733550"/>
                <a:gd name="connsiteY3" fmla="*/ 323850 h 962025"/>
                <a:gd name="connsiteX4" fmla="*/ 666750 w 1733550"/>
                <a:gd name="connsiteY4" fmla="*/ 0 h 962025"/>
                <a:gd name="connsiteX0" fmla="*/ 1756203 w 1756203"/>
                <a:gd name="connsiteY0" fmla="*/ 857250 h 962025"/>
                <a:gd name="connsiteX1" fmla="*/ 1635553 w 1756203"/>
                <a:gd name="connsiteY1" fmla="*/ 962025 h 962025"/>
                <a:gd name="connsiteX2" fmla="*/ 22653 w 1756203"/>
                <a:gd name="connsiteY2" fmla="*/ 838200 h 962025"/>
                <a:gd name="connsiteX3" fmla="*/ 689403 w 1756203"/>
                <a:gd name="connsiteY3" fmla="*/ 323850 h 962025"/>
                <a:gd name="connsiteX4" fmla="*/ 689403 w 1756203"/>
                <a:gd name="connsiteY4" fmla="*/ 0 h 962025"/>
                <a:gd name="connsiteX0" fmla="*/ 1756203 w 1756203"/>
                <a:gd name="connsiteY0" fmla="*/ 857250 h 962025"/>
                <a:gd name="connsiteX1" fmla="*/ 1635553 w 1756203"/>
                <a:gd name="connsiteY1" fmla="*/ 962025 h 962025"/>
                <a:gd name="connsiteX2" fmla="*/ 22653 w 1756203"/>
                <a:gd name="connsiteY2" fmla="*/ 838200 h 962025"/>
                <a:gd name="connsiteX3" fmla="*/ 689403 w 1756203"/>
                <a:gd name="connsiteY3" fmla="*/ 323850 h 962025"/>
                <a:gd name="connsiteX4" fmla="*/ 689403 w 1756203"/>
                <a:gd name="connsiteY4" fmla="*/ 0 h 962025"/>
                <a:gd name="connsiteX0" fmla="*/ 1756203 w 1791674"/>
                <a:gd name="connsiteY0" fmla="*/ 857250 h 962125"/>
                <a:gd name="connsiteX1" fmla="*/ 1635553 w 1791674"/>
                <a:gd name="connsiteY1" fmla="*/ 962025 h 962125"/>
                <a:gd name="connsiteX2" fmla="*/ 22653 w 1791674"/>
                <a:gd name="connsiteY2" fmla="*/ 838200 h 962125"/>
                <a:gd name="connsiteX3" fmla="*/ 689403 w 1791674"/>
                <a:gd name="connsiteY3" fmla="*/ 323850 h 962125"/>
                <a:gd name="connsiteX4" fmla="*/ 689403 w 1791674"/>
                <a:gd name="connsiteY4" fmla="*/ 0 h 962125"/>
                <a:gd name="connsiteX0" fmla="*/ 1758028 w 1793499"/>
                <a:gd name="connsiteY0" fmla="*/ 857250 h 962125"/>
                <a:gd name="connsiteX1" fmla="*/ 1637378 w 1793499"/>
                <a:gd name="connsiteY1" fmla="*/ 962025 h 962125"/>
                <a:gd name="connsiteX2" fmla="*/ 24478 w 1793499"/>
                <a:gd name="connsiteY2" fmla="*/ 838200 h 962125"/>
                <a:gd name="connsiteX3" fmla="*/ 665034 w 1793499"/>
                <a:gd name="connsiteY3" fmla="*/ 352425 h 962125"/>
                <a:gd name="connsiteX4" fmla="*/ 691228 w 1793499"/>
                <a:gd name="connsiteY4" fmla="*/ 0 h 962125"/>
                <a:gd name="connsiteX0" fmla="*/ 1757134 w 1792605"/>
                <a:gd name="connsiteY0" fmla="*/ 857250 h 962125"/>
                <a:gd name="connsiteX1" fmla="*/ 1636484 w 1792605"/>
                <a:gd name="connsiteY1" fmla="*/ 962025 h 962125"/>
                <a:gd name="connsiteX2" fmla="*/ 23584 w 1792605"/>
                <a:gd name="connsiteY2" fmla="*/ 838200 h 962125"/>
                <a:gd name="connsiteX3" fmla="*/ 664140 w 1792605"/>
                <a:gd name="connsiteY3" fmla="*/ 352425 h 962125"/>
                <a:gd name="connsiteX4" fmla="*/ 690334 w 1792605"/>
                <a:gd name="connsiteY4" fmla="*/ 0 h 962125"/>
                <a:gd name="connsiteX0" fmla="*/ 1756629 w 1792100"/>
                <a:gd name="connsiteY0" fmla="*/ 857250 h 962125"/>
                <a:gd name="connsiteX1" fmla="*/ 1635979 w 1792100"/>
                <a:gd name="connsiteY1" fmla="*/ 962025 h 962125"/>
                <a:gd name="connsiteX2" fmla="*/ 23079 w 1792100"/>
                <a:gd name="connsiteY2" fmla="*/ 838200 h 962125"/>
                <a:gd name="connsiteX3" fmla="*/ 663635 w 1792100"/>
                <a:gd name="connsiteY3" fmla="*/ 352425 h 962125"/>
                <a:gd name="connsiteX4" fmla="*/ 689829 w 1792100"/>
                <a:gd name="connsiteY4" fmla="*/ 0 h 962125"/>
                <a:gd name="connsiteX0" fmla="*/ 1757796 w 1793267"/>
                <a:gd name="connsiteY0" fmla="*/ 857250 h 962125"/>
                <a:gd name="connsiteX1" fmla="*/ 1637146 w 1793267"/>
                <a:gd name="connsiteY1" fmla="*/ 962025 h 962125"/>
                <a:gd name="connsiteX2" fmla="*/ 24246 w 1793267"/>
                <a:gd name="connsiteY2" fmla="*/ 838200 h 962125"/>
                <a:gd name="connsiteX3" fmla="*/ 664802 w 1793267"/>
                <a:gd name="connsiteY3" fmla="*/ 352425 h 962125"/>
                <a:gd name="connsiteX4" fmla="*/ 690996 w 1793267"/>
                <a:gd name="connsiteY4" fmla="*/ 0 h 962125"/>
                <a:gd name="connsiteX0" fmla="*/ 1759182 w 1794653"/>
                <a:gd name="connsiteY0" fmla="*/ 857250 h 962125"/>
                <a:gd name="connsiteX1" fmla="*/ 1638532 w 1794653"/>
                <a:gd name="connsiteY1" fmla="*/ 962025 h 962125"/>
                <a:gd name="connsiteX2" fmla="*/ 25632 w 1794653"/>
                <a:gd name="connsiteY2" fmla="*/ 838200 h 962125"/>
                <a:gd name="connsiteX3" fmla="*/ 647138 w 1794653"/>
                <a:gd name="connsiteY3" fmla="*/ 366712 h 962125"/>
                <a:gd name="connsiteX4" fmla="*/ 692382 w 1794653"/>
                <a:gd name="connsiteY4" fmla="*/ 0 h 962125"/>
                <a:gd name="connsiteX0" fmla="*/ 1758482 w 1793953"/>
                <a:gd name="connsiteY0" fmla="*/ 857250 h 962125"/>
                <a:gd name="connsiteX1" fmla="*/ 1637832 w 1793953"/>
                <a:gd name="connsiteY1" fmla="*/ 962025 h 962125"/>
                <a:gd name="connsiteX2" fmla="*/ 24932 w 1793953"/>
                <a:gd name="connsiteY2" fmla="*/ 838200 h 962125"/>
                <a:gd name="connsiteX3" fmla="*/ 655963 w 1793953"/>
                <a:gd name="connsiteY3" fmla="*/ 359568 h 962125"/>
                <a:gd name="connsiteX4" fmla="*/ 691682 w 1793953"/>
                <a:gd name="connsiteY4" fmla="*/ 0 h 962125"/>
                <a:gd name="connsiteX0" fmla="*/ 1758414 w 1793885"/>
                <a:gd name="connsiteY0" fmla="*/ 857250 h 962125"/>
                <a:gd name="connsiteX1" fmla="*/ 1637764 w 1793885"/>
                <a:gd name="connsiteY1" fmla="*/ 962025 h 962125"/>
                <a:gd name="connsiteX2" fmla="*/ 24864 w 1793885"/>
                <a:gd name="connsiteY2" fmla="*/ 838200 h 962125"/>
                <a:gd name="connsiteX3" fmla="*/ 655895 w 1793885"/>
                <a:gd name="connsiteY3" fmla="*/ 359568 h 962125"/>
                <a:gd name="connsiteX4" fmla="*/ 691614 w 1793885"/>
                <a:gd name="connsiteY4" fmla="*/ 0 h 962125"/>
                <a:gd name="connsiteX0" fmla="*/ 1758760 w 1794231"/>
                <a:gd name="connsiteY0" fmla="*/ 857250 h 962125"/>
                <a:gd name="connsiteX1" fmla="*/ 1638110 w 1794231"/>
                <a:gd name="connsiteY1" fmla="*/ 962025 h 962125"/>
                <a:gd name="connsiteX2" fmla="*/ 25210 w 1794231"/>
                <a:gd name="connsiteY2" fmla="*/ 838200 h 962125"/>
                <a:gd name="connsiteX3" fmla="*/ 651478 w 1794231"/>
                <a:gd name="connsiteY3" fmla="*/ 359568 h 962125"/>
                <a:gd name="connsiteX4" fmla="*/ 691960 w 1794231"/>
                <a:gd name="connsiteY4" fmla="*/ 0 h 962125"/>
                <a:gd name="connsiteX0" fmla="*/ 1759941 w 1795412"/>
                <a:gd name="connsiteY0" fmla="*/ 857250 h 962125"/>
                <a:gd name="connsiteX1" fmla="*/ 1639291 w 1795412"/>
                <a:gd name="connsiteY1" fmla="*/ 962025 h 962125"/>
                <a:gd name="connsiteX2" fmla="*/ 26391 w 1795412"/>
                <a:gd name="connsiteY2" fmla="*/ 838200 h 962125"/>
                <a:gd name="connsiteX3" fmla="*/ 652659 w 1795412"/>
                <a:gd name="connsiteY3" fmla="*/ 359568 h 962125"/>
                <a:gd name="connsiteX4" fmla="*/ 693141 w 1795412"/>
                <a:gd name="connsiteY4" fmla="*/ 0 h 962125"/>
                <a:gd name="connsiteX0" fmla="*/ 1759941 w 1795412"/>
                <a:gd name="connsiteY0" fmla="*/ 857250 h 962125"/>
                <a:gd name="connsiteX1" fmla="*/ 1639291 w 1795412"/>
                <a:gd name="connsiteY1" fmla="*/ 962025 h 962125"/>
                <a:gd name="connsiteX2" fmla="*/ 26391 w 1795412"/>
                <a:gd name="connsiteY2" fmla="*/ 838200 h 962125"/>
                <a:gd name="connsiteX3" fmla="*/ 652659 w 1795412"/>
                <a:gd name="connsiteY3" fmla="*/ 359568 h 962125"/>
                <a:gd name="connsiteX4" fmla="*/ 693141 w 1795412"/>
                <a:gd name="connsiteY4" fmla="*/ 0 h 962125"/>
                <a:gd name="connsiteX0" fmla="*/ 1759554 w 1795025"/>
                <a:gd name="connsiteY0" fmla="*/ 857250 h 962125"/>
                <a:gd name="connsiteX1" fmla="*/ 1638904 w 1795025"/>
                <a:gd name="connsiteY1" fmla="*/ 962025 h 962125"/>
                <a:gd name="connsiteX2" fmla="*/ 26004 w 1795025"/>
                <a:gd name="connsiteY2" fmla="*/ 838200 h 962125"/>
                <a:gd name="connsiteX3" fmla="*/ 652272 w 1795025"/>
                <a:gd name="connsiteY3" fmla="*/ 359568 h 962125"/>
                <a:gd name="connsiteX4" fmla="*/ 692754 w 1795025"/>
                <a:gd name="connsiteY4" fmla="*/ 0 h 962125"/>
                <a:gd name="connsiteX0" fmla="*/ 1696629 w 1727609"/>
                <a:gd name="connsiteY0" fmla="*/ 857250 h 962278"/>
                <a:gd name="connsiteX1" fmla="*/ 1575979 w 1727609"/>
                <a:gd name="connsiteY1" fmla="*/ 962025 h 962278"/>
                <a:gd name="connsiteX2" fmla="*/ 27373 w 1727609"/>
                <a:gd name="connsiteY2" fmla="*/ 826294 h 962278"/>
                <a:gd name="connsiteX3" fmla="*/ 589347 w 1727609"/>
                <a:gd name="connsiteY3" fmla="*/ 359568 h 962278"/>
                <a:gd name="connsiteX4" fmla="*/ 629829 w 1727609"/>
                <a:gd name="connsiteY4" fmla="*/ 0 h 962278"/>
                <a:gd name="connsiteX0" fmla="*/ 1704087 w 1735067"/>
                <a:gd name="connsiteY0" fmla="*/ 857250 h 962278"/>
                <a:gd name="connsiteX1" fmla="*/ 1583437 w 1735067"/>
                <a:gd name="connsiteY1" fmla="*/ 962025 h 962278"/>
                <a:gd name="connsiteX2" fmla="*/ 34831 w 1735067"/>
                <a:gd name="connsiteY2" fmla="*/ 826294 h 962278"/>
                <a:gd name="connsiteX3" fmla="*/ 596805 w 1735067"/>
                <a:gd name="connsiteY3" fmla="*/ 359568 h 962278"/>
                <a:gd name="connsiteX4" fmla="*/ 637287 w 1735067"/>
                <a:gd name="connsiteY4" fmla="*/ 0 h 962278"/>
                <a:gd name="connsiteX0" fmla="*/ 1685946 w 1716926"/>
                <a:gd name="connsiteY0" fmla="*/ 857250 h 962278"/>
                <a:gd name="connsiteX1" fmla="*/ 1565296 w 1716926"/>
                <a:gd name="connsiteY1" fmla="*/ 962025 h 962278"/>
                <a:gd name="connsiteX2" fmla="*/ 16690 w 1716926"/>
                <a:gd name="connsiteY2" fmla="*/ 826294 h 962278"/>
                <a:gd name="connsiteX3" fmla="*/ 578664 w 1716926"/>
                <a:gd name="connsiteY3" fmla="*/ 359568 h 962278"/>
                <a:gd name="connsiteX4" fmla="*/ 619146 w 1716926"/>
                <a:gd name="connsiteY4" fmla="*/ 0 h 962278"/>
                <a:gd name="connsiteX0" fmla="*/ 1716282 w 1749421"/>
                <a:gd name="connsiteY0" fmla="*/ 857250 h 962065"/>
                <a:gd name="connsiteX1" fmla="*/ 1595632 w 1749421"/>
                <a:gd name="connsiteY1" fmla="*/ 962025 h 962065"/>
                <a:gd name="connsiteX2" fmla="*/ 16070 w 1749421"/>
                <a:gd name="connsiteY2" fmla="*/ 845344 h 962065"/>
                <a:gd name="connsiteX3" fmla="*/ 609000 w 1749421"/>
                <a:gd name="connsiteY3" fmla="*/ 359568 h 962065"/>
                <a:gd name="connsiteX4" fmla="*/ 649482 w 1749421"/>
                <a:gd name="connsiteY4" fmla="*/ 0 h 962065"/>
                <a:gd name="connsiteX0" fmla="*/ 1716716 w 1749855"/>
                <a:gd name="connsiteY0" fmla="*/ 857250 h 962065"/>
                <a:gd name="connsiteX1" fmla="*/ 1596066 w 1749855"/>
                <a:gd name="connsiteY1" fmla="*/ 962025 h 962065"/>
                <a:gd name="connsiteX2" fmla="*/ 16504 w 1749855"/>
                <a:gd name="connsiteY2" fmla="*/ 845344 h 962065"/>
                <a:gd name="connsiteX3" fmla="*/ 609434 w 1749855"/>
                <a:gd name="connsiteY3" fmla="*/ 359568 h 962065"/>
                <a:gd name="connsiteX4" fmla="*/ 649916 w 1749855"/>
                <a:gd name="connsiteY4" fmla="*/ 0 h 962065"/>
                <a:gd name="connsiteX0" fmla="*/ 1716443 w 1749582"/>
                <a:gd name="connsiteY0" fmla="*/ 857250 h 962065"/>
                <a:gd name="connsiteX1" fmla="*/ 1595793 w 1749582"/>
                <a:gd name="connsiteY1" fmla="*/ 962025 h 962065"/>
                <a:gd name="connsiteX2" fmla="*/ 16231 w 1749582"/>
                <a:gd name="connsiteY2" fmla="*/ 845344 h 962065"/>
                <a:gd name="connsiteX3" fmla="*/ 609161 w 1749582"/>
                <a:gd name="connsiteY3" fmla="*/ 359568 h 962065"/>
                <a:gd name="connsiteX4" fmla="*/ 649643 w 1749582"/>
                <a:gd name="connsiteY4" fmla="*/ 0 h 962065"/>
                <a:gd name="connsiteX0" fmla="*/ 1702509 w 1735648"/>
                <a:gd name="connsiteY0" fmla="*/ 857250 h 962065"/>
                <a:gd name="connsiteX1" fmla="*/ 1581859 w 1735648"/>
                <a:gd name="connsiteY1" fmla="*/ 962025 h 962065"/>
                <a:gd name="connsiteX2" fmla="*/ 2297 w 1735648"/>
                <a:gd name="connsiteY2" fmla="*/ 845344 h 962065"/>
                <a:gd name="connsiteX3" fmla="*/ 595227 w 1735648"/>
                <a:gd name="connsiteY3" fmla="*/ 359568 h 962065"/>
                <a:gd name="connsiteX4" fmla="*/ 635709 w 1735648"/>
                <a:gd name="connsiteY4" fmla="*/ 0 h 962065"/>
                <a:gd name="connsiteX0" fmla="*/ 1702509 w 1735648"/>
                <a:gd name="connsiteY0" fmla="*/ 857250 h 962065"/>
                <a:gd name="connsiteX1" fmla="*/ 1581859 w 1735648"/>
                <a:gd name="connsiteY1" fmla="*/ 962025 h 962065"/>
                <a:gd name="connsiteX2" fmla="*/ 2297 w 1735648"/>
                <a:gd name="connsiteY2" fmla="*/ 845344 h 962065"/>
                <a:gd name="connsiteX3" fmla="*/ 595227 w 1735648"/>
                <a:gd name="connsiteY3" fmla="*/ 359568 h 962065"/>
                <a:gd name="connsiteX4" fmla="*/ 635709 w 1735648"/>
                <a:gd name="connsiteY4" fmla="*/ 0 h 962065"/>
                <a:gd name="connsiteX0" fmla="*/ 1681171 w 1712815"/>
                <a:gd name="connsiteY0" fmla="*/ 857250 h 962209"/>
                <a:gd name="connsiteX1" fmla="*/ 1560521 w 1712815"/>
                <a:gd name="connsiteY1" fmla="*/ 962025 h 962209"/>
                <a:gd name="connsiteX2" fmla="*/ 2390 w 1712815"/>
                <a:gd name="connsiteY2" fmla="*/ 831056 h 962209"/>
                <a:gd name="connsiteX3" fmla="*/ 573889 w 1712815"/>
                <a:gd name="connsiteY3" fmla="*/ 359568 h 962209"/>
                <a:gd name="connsiteX4" fmla="*/ 614371 w 1712815"/>
                <a:gd name="connsiteY4" fmla="*/ 0 h 962209"/>
                <a:gd name="connsiteX0" fmla="*/ 1681171 w 1712815"/>
                <a:gd name="connsiteY0" fmla="*/ 857250 h 962209"/>
                <a:gd name="connsiteX1" fmla="*/ 1560521 w 1712815"/>
                <a:gd name="connsiteY1" fmla="*/ 962025 h 962209"/>
                <a:gd name="connsiteX2" fmla="*/ 2390 w 1712815"/>
                <a:gd name="connsiteY2" fmla="*/ 831056 h 962209"/>
                <a:gd name="connsiteX3" fmla="*/ 573889 w 1712815"/>
                <a:gd name="connsiteY3" fmla="*/ 359568 h 962209"/>
                <a:gd name="connsiteX4" fmla="*/ 614371 w 1712815"/>
                <a:gd name="connsiteY4" fmla="*/ 0 h 962209"/>
                <a:gd name="connsiteX0" fmla="*/ 1681235 w 1712879"/>
                <a:gd name="connsiteY0" fmla="*/ 857250 h 962209"/>
                <a:gd name="connsiteX1" fmla="*/ 1560585 w 1712879"/>
                <a:gd name="connsiteY1" fmla="*/ 962025 h 962209"/>
                <a:gd name="connsiteX2" fmla="*/ 2454 w 1712879"/>
                <a:gd name="connsiteY2" fmla="*/ 831056 h 962209"/>
                <a:gd name="connsiteX3" fmla="*/ 573953 w 1712879"/>
                <a:gd name="connsiteY3" fmla="*/ 359568 h 962209"/>
                <a:gd name="connsiteX4" fmla="*/ 614435 w 1712879"/>
                <a:gd name="connsiteY4" fmla="*/ 0 h 962209"/>
                <a:gd name="connsiteX0" fmla="*/ 1678781 w 1710425"/>
                <a:gd name="connsiteY0" fmla="*/ 857250 h 962209"/>
                <a:gd name="connsiteX1" fmla="*/ 1558131 w 1710425"/>
                <a:gd name="connsiteY1" fmla="*/ 962025 h 962209"/>
                <a:gd name="connsiteX2" fmla="*/ 0 w 1710425"/>
                <a:gd name="connsiteY2" fmla="*/ 831056 h 962209"/>
                <a:gd name="connsiteX3" fmla="*/ 571499 w 1710425"/>
                <a:gd name="connsiteY3" fmla="*/ 359568 h 962209"/>
                <a:gd name="connsiteX4" fmla="*/ 611981 w 1710425"/>
                <a:gd name="connsiteY4" fmla="*/ 0 h 962209"/>
                <a:gd name="connsiteX0" fmla="*/ 1678781 w 1710425"/>
                <a:gd name="connsiteY0" fmla="*/ 857250 h 962209"/>
                <a:gd name="connsiteX1" fmla="*/ 1558131 w 1710425"/>
                <a:gd name="connsiteY1" fmla="*/ 962025 h 962209"/>
                <a:gd name="connsiteX2" fmla="*/ 0 w 1710425"/>
                <a:gd name="connsiteY2" fmla="*/ 831056 h 962209"/>
                <a:gd name="connsiteX3" fmla="*/ 571499 w 1710425"/>
                <a:gd name="connsiteY3" fmla="*/ 359568 h 962209"/>
                <a:gd name="connsiteX4" fmla="*/ 611981 w 1710425"/>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695450 w 1728256"/>
                <a:gd name="connsiteY0" fmla="*/ 857250 h 962278"/>
                <a:gd name="connsiteX1" fmla="*/ 1574800 w 1728256"/>
                <a:gd name="connsiteY1" fmla="*/ 962025 h 962278"/>
                <a:gd name="connsiteX2" fmla="*/ 0 w 1728256"/>
                <a:gd name="connsiteY2" fmla="*/ 826293 h 962278"/>
                <a:gd name="connsiteX3" fmla="*/ 588168 w 1728256"/>
                <a:gd name="connsiteY3" fmla="*/ 359568 h 962278"/>
                <a:gd name="connsiteX4" fmla="*/ 628650 w 1728256"/>
                <a:gd name="connsiteY4" fmla="*/ 0 h 962278"/>
                <a:gd name="connsiteX0" fmla="*/ 1696407 w 1729213"/>
                <a:gd name="connsiteY0" fmla="*/ 857250 h 962278"/>
                <a:gd name="connsiteX1" fmla="*/ 1575757 w 1729213"/>
                <a:gd name="connsiteY1" fmla="*/ 962025 h 962278"/>
                <a:gd name="connsiteX2" fmla="*/ 957 w 1729213"/>
                <a:gd name="connsiteY2" fmla="*/ 826293 h 962278"/>
                <a:gd name="connsiteX3" fmla="*/ 589125 w 1729213"/>
                <a:gd name="connsiteY3" fmla="*/ 359568 h 962278"/>
                <a:gd name="connsiteX4" fmla="*/ 629607 w 1729213"/>
                <a:gd name="connsiteY4" fmla="*/ 0 h 962278"/>
                <a:gd name="connsiteX0" fmla="*/ 1715446 w 1749584"/>
                <a:gd name="connsiteY0" fmla="*/ 857250 h 962178"/>
                <a:gd name="connsiteX1" fmla="*/ 1594796 w 1749584"/>
                <a:gd name="connsiteY1" fmla="*/ 962025 h 962178"/>
                <a:gd name="connsiteX2" fmla="*/ 946 w 1749584"/>
                <a:gd name="connsiteY2" fmla="*/ 833436 h 962178"/>
                <a:gd name="connsiteX3" fmla="*/ 608164 w 1749584"/>
                <a:gd name="connsiteY3" fmla="*/ 359568 h 962178"/>
                <a:gd name="connsiteX4" fmla="*/ 648646 w 1749584"/>
                <a:gd name="connsiteY4" fmla="*/ 0 h 962178"/>
                <a:gd name="connsiteX0" fmla="*/ 1737332 w 1754060"/>
                <a:gd name="connsiteY0" fmla="*/ 857250 h 962031"/>
                <a:gd name="connsiteX1" fmla="*/ 1616682 w 1754060"/>
                <a:gd name="connsiteY1" fmla="*/ 962025 h 962031"/>
                <a:gd name="connsiteX2" fmla="*/ 275392 w 1754060"/>
                <a:gd name="connsiteY2" fmla="*/ 862217 h 962031"/>
                <a:gd name="connsiteX3" fmla="*/ 22832 w 1754060"/>
                <a:gd name="connsiteY3" fmla="*/ 833436 h 962031"/>
                <a:gd name="connsiteX4" fmla="*/ 630050 w 1754060"/>
                <a:gd name="connsiteY4" fmla="*/ 359568 h 962031"/>
                <a:gd name="connsiteX5" fmla="*/ 670532 w 1754060"/>
                <a:gd name="connsiteY5" fmla="*/ 0 h 962031"/>
                <a:gd name="connsiteX0" fmla="*/ 1730806 w 1747534"/>
                <a:gd name="connsiteY0" fmla="*/ 857250 h 962031"/>
                <a:gd name="connsiteX1" fmla="*/ 1610156 w 1747534"/>
                <a:gd name="connsiteY1" fmla="*/ 962025 h 962031"/>
                <a:gd name="connsiteX2" fmla="*/ 268866 w 1747534"/>
                <a:gd name="connsiteY2" fmla="*/ 862217 h 962031"/>
                <a:gd name="connsiteX3" fmla="*/ 16306 w 1747534"/>
                <a:gd name="connsiteY3" fmla="*/ 833436 h 962031"/>
                <a:gd name="connsiteX4" fmla="*/ 623524 w 1747534"/>
                <a:gd name="connsiteY4" fmla="*/ 359568 h 962031"/>
                <a:gd name="connsiteX5" fmla="*/ 664006 w 1747534"/>
                <a:gd name="connsiteY5" fmla="*/ 0 h 962031"/>
                <a:gd name="connsiteX0" fmla="*/ 1676823 w 1693551"/>
                <a:gd name="connsiteY0" fmla="*/ 857250 h 962031"/>
                <a:gd name="connsiteX1" fmla="*/ 1556173 w 1693551"/>
                <a:gd name="connsiteY1" fmla="*/ 962025 h 962031"/>
                <a:gd name="connsiteX2" fmla="*/ 214883 w 1693551"/>
                <a:gd name="connsiteY2" fmla="*/ 862217 h 962031"/>
                <a:gd name="connsiteX3" fmla="*/ 24235 w 1693551"/>
                <a:gd name="connsiteY3" fmla="*/ 781049 h 962031"/>
                <a:gd name="connsiteX4" fmla="*/ 569541 w 1693551"/>
                <a:gd name="connsiteY4" fmla="*/ 359568 h 962031"/>
                <a:gd name="connsiteX5" fmla="*/ 610023 w 1693551"/>
                <a:gd name="connsiteY5"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8445 w 1701973"/>
                <a:gd name="connsiteY5"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20975 w 1701973"/>
                <a:gd name="connsiteY5" fmla="*/ 164512 h 962031"/>
                <a:gd name="connsiteX6" fmla="*/ 618445 w 1701973"/>
                <a:gd name="connsiteY6" fmla="*/ 0 h 962031"/>
                <a:gd name="connsiteX0" fmla="*/ 1685245 w 1685245"/>
                <a:gd name="connsiteY0" fmla="*/ 857250 h 959650"/>
                <a:gd name="connsiteX1" fmla="*/ 1457439 w 1685245"/>
                <a:gd name="connsiteY1" fmla="*/ 959644 h 959650"/>
                <a:gd name="connsiteX2" fmla="*/ 223305 w 1685245"/>
                <a:gd name="connsiteY2" fmla="*/ 862217 h 959650"/>
                <a:gd name="connsiteX3" fmla="*/ 32657 w 1685245"/>
                <a:gd name="connsiteY3" fmla="*/ 781049 h 959650"/>
                <a:gd name="connsiteX4" fmla="*/ 577963 w 1685245"/>
                <a:gd name="connsiteY4" fmla="*/ 359568 h 959650"/>
                <a:gd name="connsiteX5" fmla="*/ 620975 w 1685245"/>
                <a:gd name="connsiteY5" fmla="*/ 164512 h 959650"/>
                <a:gd name="connsiteX6" fmla="*/ 618445 w 1685245"/>
                <a:gd name="connsiteY6" fmla="*/ 0 h 959650"/>
                <a:gd name="connsiteX0" fmla="*/ 1685245 w 1685245"/>
                <a:gd name="connsiteY0" fmla="*/ 857250 h 961822"/>
                <a:gd name="connsiteX1" fmla="*/ 1616337 w 1685245"/>
                <a:gd name="connsiteY1" fmla="*/ 924131 h 961822"/>
                <a:gd name="connsiteX2" fmla="*/ 1457439 w 1685245"/>
                <a:gd name="connsiteY2" fmla="*/ 959644 h 961822"/>
                <a:gd name="connsiteX3" fmla="*/ 223305 w 1685245"/>
                <a:gd name="connsiteY3" fmla="*/ 862217 h 961822"/>
                <a:gd name="connsiteX4" fmla="*/ 32657 w 1685245"/>
                <a:gd name="connsiteY4" fmla="*/ 781049 h 961822"/>
                <a:gd name="connsiteX5" fmla="*/ 577963 w 1685245"/>
                <a:gd name="connsiteY5" fmla="*/ 359568 h 961822"/>
                <a:gd name="connsiteX6" fmla="*/ 620975 w 1685245"/>
                <a:gd name="connsiteY6" fmla="*/ 164512 h 961822"/>
                <a:gd name="connsiteX7" fmla="*/ 618445 w 1685245"/>
                <a:gd name="connsiteY7" fmla="*/ 0 h 961822"/>
                <a:gd name="connsiteX0" fmla="*/ 1685245 w 1685245"/>
                <a:gd name="connsiteY0" fmla="*/ 857250 h 953018"/>
                <a:gd name="connsiteX1" fmla="*/ 1616337 w 1685245"/>
                <a:gd name="connsiteY1" fmla="*/ 924131 h 953018"/>
                <a:gd name="connsiteX2" fmla="*/ 1414576 w 1685245"/>
                <a:gd name="connsiteY2" fmla="*/ 950119 h 953018"/>
                <a:gd name="connsiteX3" fmla="*/ 223305 w 1685245"/>
                <a:gd name="connsiteY3" fmla="*/ 862217 h 953018"/>
                <a:gd name="connsiteX4" fmla="*/ 32657 w 1685245"/>
                <a:gd name="connsiteY4" fmla="*/ 781049 h 953018"/>
                <a:gd name="connsiteX5" fmla="*/ 577963 w 1685245"/>
                <a:gd name="connsiteY5" fmla="*/ 359568 h 953018"/>
                <a:gd name="connsiteX6" fmla="*/ 620975 w 1685245"/>
                <a:gd name="connsiteY6" fmla="*/ 164512 h 953018"/>
                <a:gd name="connsiteX7" fmla="*/ 618445 w 1685245"/>
                <a:gd name="connsiteY7" fmla="*/ 0 h 953018"/>
                <a:gd name="connsiteX0" fmla="*/ 1685245 w 1685245"/>
                <a:gd name="connsiteY0" fmla="*/ 857250 h 956840"/>
                <a:gd name="connsiteX1" fmla="*/ 1616337 w 1685245"/>
                <a:gd name="connsiteY1" fmla="*/ 924131 h 956840"/>
                <a:gd name="connsiteX2" fmla="*/ 1414576 w 1685245"/>
                <a:gd name="connsiteY2" fmla="*/ 950119 h 956840"/>
                <a:gd name="connsiteX3" fmla="*/ 223305 w 1685245"/>
                <a:gd name="connsiteY3" fmla="*/ 862217 h 956840"/>
                <a:gd name="connsiteX4" fmla="*/ 32657 w 1685245"/>
                <a:gd name="connsiteY4" fmla="*/ 781049 h 956840"/>
                <a:gd name="connsiteX5" fmla="*/ 577963 w 1685245"/>
                <a:gd name="connsiteY5" fmla="*/ 359568 h 956840"/>
                <a:gd name="connsiteX6" fmla="*/ 620975 w 1685245"/>
                <a:gd name="connsiteY6" fmla="*/ 164512 h 956840"/>
                <a:gd name="connsiteX7" fmla="*/ 618445 w 1685245"/>
                <a:gd name="connsiteY7" fmla="*/ 0 h 956840"/>
                <a:gd name="connsiteX0" fmla="*/ 1685245 w 1685245"/>
                <a:gd name="connsiteY0" fmla="*/ 857250 h 958892"/>
                <a:gd name="connsiteX1" fmla="*/ 1616337 w 1685245"/>
                <a:gd name="connsiteY1" fmla="*/ 924131 h 958892"/>
                <a:gd name="connsiteX2" fmla="*/ 14193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4193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18594 w 1685245"/>
                <a:gd name="connsiteY6" fmla="*/ 178799 h 958892"/>
                <a:gd name="connsiteX7" fmla="*/ 618445 w 1685245"/>
                <a:gd name="connsiteY7" fmla="*/ 0 h 958892"/>
                <a:gd name="connsiteX0" fmla="*/ 1685245 w 1685245"/>
                <a:gd name="connsiteY0" fmla="*/ 857250 h 955180"/>
                <a:gd name="connsiteX1" fmla="*/ 1632212 w 1685245"/>
                <a:gd name="connsiteY1" fmla="*/ 924131 h 955180"/>
                <a:gd name="connsiteX2" fmla="*/ 1381238 w 1685245"/>
                <a:gd name="connsiteY2" fmla="*/ 952500 h 955180"/>
                <a:gd name="connsiteX3" fmla="*/ 223305 w 1685245"/>
                <a:gd name="connsiteY3" fmla="*/ 862217 h 955180"/>
                <a:gd name="connsiteX4" fmla="*/ 32657 w 1685245"/>
                <a:gd name="connsiteY4" fmla="*/ 781049 h 955180"/>
                <a:gd name="connsiteX5" fmla="*/ 577963 w 1685245"/>
                <a:gd name="connsiteY5" fmla="*/ 359568 h 955180"/>
                <a:gd name="connsiteX6" fmla="*/ 618594 w 1685245"/>
                <a:gd name="connsiteY6" fmla="*/ 178799 h 955180"/>
                <a:gd name="connsiteX7" fmla="*/ 618445 w 1685245"/>
                <a:gd name="connsiteY7" fmla="*/ 0 h 955180"/>
                <a:gd name="connsiteX0" fmla="*/ 1685245 w 1685245"/>
                <a:gd name="connsiteY0" fmla="*/ 857250 h 958107"/>
                <a:gd name="connsiteX1" fmla="*/ 1632212 w 1685245"/>
                <a:gd name="connsiteY1" fmla="*/ 924131 h 958107"/>
                <a:gd name="connsiteX2" fmla="*/ 1444738 w 1685245"/>
                <a:gd name="connsiteY2" fmla="*/ 955675 h 958107"/>
                <a:gd name="connsiteX3" fmla="*/ 223305 w 1685245"/>
                <a:gd name="connsiteY3" fmla="*/ 862217 h 958107"/>
                <a:gd name="connsiteX4" fmla="*/ 32657 w 1685245"/>
                <a:gd name="connsiteY4" fmla="*/ 781049 h 958107"/>
                <a:gd name="connsiteX5" fmla="*/ 577963 w 1685245"/>
                <a:gd name="connsiteY5" fmla="*/ 359568 h 958107"/>
                <a:gd name="connsiteX6" fmla="*/ 618594 w 1685245"/>
                <a:gd name="connsiteY6" fmla="*/ 178799 h 958107"/>
                <a:gd name="connsiteX7" fmla="*/ 618445 w 1685245"/>
                <a:gd name="connsiteY7" fmla="*/ 0 h 958107"/>
                <a:gd name="connsiteX0" fmla="*/ 1685245 w 1685245"/>
                <a:gd name="connsiteY0" fmla="*/ 857250 h 961982"/>
                <a:gd name="connsiteX1" fmla="*/ 1632212 w 1685245"/>
                <a:gd name="connsiteY1" fmla="*/ 924131 h 961982"/>
                <a:gd name="connsiteX2" fmla="*/ 1444738 w 1685245"/>
                <a:gd name="connsiteY2" fmla="*/ 955675 h 961982"/>
                <a:gd name="connsiteX3" fmla="*/ 223305 w 1685245"/>
                <a:gd name="connsiteY3" fmla="*/ 862217 h 961982"/>
                <a:gd name="connsiteX4" fmla="*/ 32657 w 1685245"/>
                <a:gd name="connsiteY4" fmla="*/ 781049 h 961982"/>
                <a:gd name="connsiteX5" fmla="*/ 577963 w 1685245"/>
                <a:gd name="connsiteY5" fmla="*/ 359568 h 961982"/>
                <a:gd name="connsiteX6" fmla="*/ 618594 w 1685245"/>
                <a:gd name="connsiteY6" fmla="*/ 178799 h 961982"/>
                <a:gd name="connsiteX7" fmla="*/ 618445 w 1685245"/>
                <a:gd name="connsiteY7" fmla="*/ 0 h 961982"/>
                <a:gd name="connsiteX0" fmla="*/ 1685245 w 1685245"/>
                <a:gd name="connsiteY0" fmla="*/ 857250 h 961982"/>
                <a:gd name="connsiteX1" fmla="*/ 1632212 w 1685245"/>
                <a:gd name="connsiteY1" fmla="*/ 924131 h 961982"/>
                <a:gd name="connsiteX2" fmla="*/ 1422513 w 1685245"/>
                <a:gd name="connsiteY2" fmla="*/ 955675 h 961982"/>
                <a:gd name="connsiteX3" fmla="*/ 223305 w 1685245"/>
                <a:gd name="connsiteY3" fmla="*/ 862217 h 961982"/>
                <a:gd name="connsiteX4" fmla="*/ 32657 w 1685245"/>
                <a:gd name="connsiteY4" fmla="*/ 781049 h 961982"/>
                <a:gd name="connsiteX5" fmla="*/ 577963 w 1685245"/>
                <a:gd name="connsiteY5" fmla="*/ 359568 h 961982"/>
                <a:gd name="connsiteX6" fmla="*/ 618594 w 1685245"/>
                <a:gd name="connsiteY6" fmla="*/ 178799 h 961982"/>
                <a:gd name="connsiteX7" fmla="*/ 618445 w 1685245"/>
                <a:gd name="connsiteY7" fmla="*/ 0 h 96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5245" h="961982">
                  <a:moveTo>
                    <a:pt x="1685245" y="857250"/>
                  </a:moveTo>
                  <a:cubicBezTo>
                    <a:pt x="1678523" y="868000"/>
                    <a:pt x="1655892" y="897540"/>
                    <a:pt x="1632212" y="924131"/>
                  </a:cubicBezTo>
                  <a:cubicBezTo>
                    <a:pt x="1594244" y="941197"/>
                    <a:pt x="1656651" y="976298"/>
                    <a:pt x="1422513" y="955675"/>
                  </a:cubicBezTo>
                  <a:cubicBezTo>
                    <a:pt x="1197220" y="935831"/>
                    <a:pt x="609283" y="892311"/>
                    <a:pt x="223305" y="862217"/>
                  </a:cubicBezTo>
                  <a:cubicBezTo>
                    <a:pt x="17194" y="845549"/>
                    <a:pt x="-45928" y="846902"/>
                    <a:pt x="32657" y="781049"/>
                  </a:cubicBezTo>
                  <a:cubicBezTo>
                    <a:pt x="115580" y="711561"/>
                    <a:pt x="446200" y="462360"/>
                    <a:pt x="577963" y="359568"/>
                  </a:cubicBezTo>
                  <a:cubicBezTo>
                    <a:pt x="637519" y="301658"/>
                    <a:pt x="618990" y="248253"/>
                    <a:pt x="618594" y="178799"/>
                  </a:cubicBezTo>
                  <a:cubicBezTo>
                    <a:pt x="618198" y="109345"/>
                    <a:pt x="618470" y="36547"/>
                    <a:pt x="618445" y="0"/>
                  </a:cubicBezTo>
                </a:path>
              </a:pathLst>
            </a:custGeom>
            <a:noFill/>
            <a:ln w="57150">
              <a:solidFill>
                <a:srgbClr val="4BD65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6" name="Freihandform 25"/>
            <p:cNvSpPr/>
            <p:nvPr/>
          </p:nvSpPr>
          <p:spPr>
            <a:xfrm>
              <a:off x="3670028" y="3898010"/>
              <a:ext cx="897210" cy="158035"/>
            </a:xfrm>
            <a:custGeom>
              <a:avLst/>
              <a:gdLst>
                <a:gd name="connsiteX0" fmla="*/ 1733550 w 1733550"/>
                <a:gd name="connsiteY0" fmla="*/ 857250 h 962025"/>
                <a:gd name="connsiteX1" fmla="*/ 1612900 w 1733550"/>
                <a:gd name="connsiteY1" fmla="*/ 962025 h 962025"/>
                <a:gd name="connsiteX2" fmla="*/ 0 w 1733550"/>
                <a:gd name="connsiteY2" fmla="*/ 838200 h 962025"/>
                <a:gd name="connsiteX3" fmla="*/ 666750 w 1733550"/>
                <a:gd name="connsiteY3" fmla="*/ 323850 h 962025"/>
                <a:gd name="connsiteX4" fmla="*/ 666750 w 1733550"/>
                <a:gd name="connsiteY4" fmla="*/ 0 h 962025"/>
                <a:gd name="connsiteX0" fmla="*/ 1756203 w 1756203"/>
                <a:gd name="connsiteY0" fmla="*/ 857250 h 962025"/>
                <a:gd name="connsiteX1" fmla="*/ 1635553 w 1756203"/>
                <a:gd name="connsiteY1" fmla="*/ 962025 h 962025"/>
                <a:gd name="connsiteX2" fmla="*/ 22653 w 1756203"/>
                <a:gd name="connsiteY2" fmla="*/ 838200 h 962025"/>
                <a:gd name="connsiteX3" fmla="*/ 689403 w 1756203"/>
                <a:gd name="connsiteY3" fmla="*/ 323850 h 962025"/>
                <a:gd name="connsiteX4" fmla="*/ 689403 w 1756203"/>
                <a:gd name="connsiteY4" fmla="*/ 0 h 962025"/>
                <a:gd name="connsiteX0" fmla="*/ 1756203 w 1756203"/>
                <a:gd name="connsiteY0" fmla="*/ 857250 h 962025"/>
                <a:gd name="connsiteX1" fmla="*/ 1635553 w 1756203"/>
                <a:gd name="connsiteY1" fmla="*/ 962025 h 962025"/>
                <a:gd name="connsiteX2" fmla="*/ 22653 w 1756203"/>
                <a:gd name="connsiteY2" fmla="*/ 838200 h 962025"/>
                <a:gd name="connsiteX3" fmla="*/ 689403 w 1756203"/>
                <a:gd name="connsiteY3" fmla="*/ 323850 h 962025"/>
                <a:gd name="connsiteX4" fmla="*/ 689403 w 1756203"/>
                <a:gd name="connsiteY4" fmla="*/ 0 h 962025"/>
                <a:gd name="connsiteX0" fmla="*/ 1756203 w 1791674"/>
                <a:gd name="connsiteY0" fmla="*/ 857250 h 962125"/>
                <a:gd name="connsiteX1" fmla="*/ 1635553 w 1791674"/>
                <a:gd name="connsiteY1" fmla="*/ 962025 h 962125"/>
                <a:gd name="connsiteX2" fmla="*/ 22653 w 1791674"/>
                <a:gd name="connsiteY2" fmla="*/ 838200 h 962125"/>
                <a:gd name="connsiteX3" fmla="*/ 689403 w 1791674"/>
                <a:gd name="connsiteY3" fmla="*/ 323850 h 962125"/>
                <a:gd name="connsiteX4" fmla="*/ 689403 w 1791674"/>
                <a:gd name="connsiteY4" fmla="*/ 0 h 962125"/>
                <a:gd name="connsiteX0" fmla="*/ 1758028 w 1793499"/>
                <a:gd name="connsiteY0" fmla="*/ 857250 h 962125"/>
                <a:gd name="connsiteX1" fmla="*/ 1637378 w 1793499"/>
                <a:gd name="connsiteY1" fmla="*/ 962025 h 962125"/>
                <a:gd name="connsiteX2" fmla="*/ 24478 w 1793499"/>
                <a:gd name="connsiteY2" fmla="*/ 838200 h 962125"/>
                <a:gd name="connsiteX3" fmla="*/ 665034 w 1793499"/>
                <a:gd name="connsiteY3" fmla="*/ 352425 h 962125"/>
                <a:gd name="connsiteX4" fmla="*/ 691228 w 1793499"/>
                <a:gd name="connsiteY4" fmla="*/ 0 h 962125"/>
                <a:gd name="connsiteX0" fmla="*/ 1757134 w 1792605"/>
                <a:gd name="connsiteY0" fmla="*/ 857250 h 962125"/>
                <a:gd name="connsiteX1" fmla="*/ 1636484 w 1792605"/>
                <a:gd name="connsiteY1" fmla="*/ 962025 h 962125"/>
                <a:gd name="connsiteX2" fmla="*/ 23584 w 1792605"/>
                <a:gd name="connsiteY2" fmla="*/ 838200 h 962125"/>
                <a:gd name="connsiteX3" fmla="*/ 664140 w 1792605"/>
                <a:gd name="connsiteY3" fmla="*/ 352425 h 962125"/>
                <a:gd name="connsiteX4" fmla="*/ 690334 w 1792605"/>
                <a:gd name="connsiteY4" fmla="*/ 0 h 962125"/>
                <a:gd name="connsiteX0" fmla="*/ 1756629 w 1792100"/>
                <a:gd name="connsiteY0" fmla="*/ 857250 h 962125"/>
                <a:gd name="connsiteX1" fmla="*/ 1635979 w 1792100"/>
                <a:gd name="connsiteY1" fmla="*/ 962025 h 962125"/>
                <a:gd name="connsiteX2" fmla="*/ 23079 w 1792100"/>
                <a:gd name="connsiteY2" fmla="*/ 838200 h 962125"/>
                <a:gd name="connsiteX3" fmla="*/ 663635 w 1792100"/>
                <a:gd name="connsiteY3" fmla="*/ 352425 h 962125"/>
                <a:gd name="connsiteX4" fmla="*/ 689829 w 1792100"/>
                <a:gd name="connsiteY4" fmla="*/ 0 h 962125"/>
                <a:gd name="connsiteX0" fmla="*/ 1757796 w 1793267"/>
                <a:gd name="connsiteY0" fmla="*/ 857250 h 962125"/>
                <a:gd name="connsiteX1" fmla="*/ 1637146 w 1793267"/>
                <a:gd name="connsiteY1" fmla="*/ 962025 h 962125"/>
                <a:gd name="connsiteX2" fmla="*/ 24246 w 1793267"/>
                <a:gd name="connsiteY2" fmla="*/ 838200 h 962125"/>
                <a:gd name="connsiteX3" fmla="*/ 664802 w 1793267"/>
                <a:gd name="connsiteY3" fmla="*/ 352425 h 962125"/>
                <a:gd name="connsiteX4" fmla="*/ 690996 w 1793267"/>
                <a:gd name="connsiteY4" fmla="*/ 0 h 962125"/>
                <a:gd name="connsiteX0" fmla="*/ 1759182 w 1794653"/>
                <a:gd name="connsiteY0" fmla="*/ 857250 h 962125"/>
                <a:gd name="connsiteX1" fmla="*/ 1638532 w 1794653"/>
                <a:gd name="connsiteY1" fmla="*/ 962025 h 962125"/>
                <a:gd name="connsiteX2" fmla="*/ 25632 w 1794653"/>
                <a:gd name="connsiteY2" fmla="*/ 838200 h 962125"/>
                <a:gd name="connsiteX3" fmla="*/ 647138 w 1794653"/>
                <a:gd name="connsiteY3" fmla="*/ 366712 h 962125"/>
                <a:gd name="connsiteX4" fmla="*/ 692382 w 1794653"/>
                <a:gd name="connsiteY4" fmla="*/ 0 h 962125"/>
                <a:gd name="connsiteX0" fmla="*/ 1758482 w 1793953"/>
                <a:gd name="connsiteY0" fmla="*/ 857250 h 962125"/>
                <a:gd name="connsiteX1" fmla="*/ 1637832 w 1793953"/>
                <a:gd name="connsiteY1" fmla="*/ 962025 h 962125"/>
                <a:gd name="connsiteX2" fmla="*/ 24932 w 1793953"/>
                <a:gd name="connsiteY2" fmla="*/ 838200 h 962125"/>
                <a:gd name="connsiteX3" fmla="*/ 655963 w 1793953"/>
                <a:gd name="connsiteY3" fmla="*/ 359568 h 962125"/>
                <a:gd name="connsiteX4" fmla="*/ 691682 w 1793953"/>
                <a:gd name="connsiteY4" fmla="*/ 0 h 962125"/>
                <a:gd name="connsiteX0" fmla="*/ 1758414 w 1793885"/>
                <a:gd name="connsiteY0" fmla="*/ 857250 h 962125"/>
                <a:gd name="connsiteX1" fmla="*/ 1637764 w 1793885"/>
                <a:gd name="connsiteY1" fmla="*/ 962025 h 962125"/>
                <a:gd name="connsiteX2" fmla="*/ 24864 w 1793885"/>
                <a:gd name="connsiteY2" fmla="*/ 838200 h 962125"/>
                <a:gd name="connsiteX3" fmla="*/ 655895 w 1793885"/>
                <a:gd name="connsiteY3" fmla="*/ 359568 h 962125"/>
                <a:gd name="connsiteX4" fmla="*/ 691614 w 1793885"/>
                <a:gd name="connsiteY4" fmla="*/ 0 h 962125"/>
                <a:gd name="connsiteX0" fmla="*/ 1758760 w 1794231"/>
                <a:gd name="connsiteY0" fmla="*/ 857250 h 962125"/>
                <a:gd name="connsiteX1" fmla="*/ 1638110 w 1794231"/>
                <a:gd name="connsiteY1" fmla="*/ 962025 h 962125"/>
                <a:gd name="connsiteX2" fmla="*/ 25210 w 1794231"/>
                <a:gd name="connsiteY2" fmla="*/ 838200 h 962125"/>
                <a:gd name="connsiteX3" fmla="*/ 651478 w 1794231"/>
                <a:gd name="connsiteY3" fmla="*/ 359568 h 962125"/>
                <a:gd name="connsiteX4" fmla="*/ 691960 w 1794231"/>
                <a:gd name="connsiteY4" fmla="*/ 0 h 962125"/>
                <a:gd name="connsiteX0" fmla="*/ 1759941 w 1795412"/>
                <a:gd name="connsiteY0" fmla="*/ 857250 h 962125"/>
                <a:gd name="connsiteX1" fmla="*/ 1639291 w 1795412"/>
                <a:gd name="connsiteY1" fmla="*/ 962025 h 962125"/>
                <a:gd name="connsiteX2" fmla="*/ 26391 w 1795412"/>
                <a:gd name="connsiteY2" fmla="*/ 838200 h 962125"/>
                <a:gd name="connsiteX3" fmla="*/ 652659 w 1795412"/>
                <a:gd name="connsiteY3" fmla="*/ 359568 h 962125"/>
                <a:gd name="connsiteX4" fmla="*/ 693141 w 1795412"/>
                <a:gd name="connsiteY4" fmla="*/ 0 h 962125"/>
                <a:gd name="connsiteX0" fmla="*/ 1759941 w 1795412"/>
                <a:gd name="connsiteY0" fmla="*/ 857250 h 962125"/>
                <a:gd name="connsiteX1" fmla="*/ 1639291 w 1795412"/>
                <a:gd name="connsiteY1" fmla="*/ 962025 h 962125"/>
                <a:gd name="connsiteX2" fmla="*/ 26391 w 1795412"/>
                <a:gd name="connsiteY2" fmla="*/ 838200 h 962125"/>
                <a:gd name="connsiteX3" fmla="*/ 652659 w 1795412"/>
                <a:gd name="connsiteY3" fmla="*/ 359568 h 962125"/>
                <a:gd name="connsiteX4" fmla="*/ 693141 w 1795412"/>
                <a:gd name="connsiteY4" fmla="*/ 0 h 962125"/>
                <a:gd name="connsiteX0" fmla="*/ 1759554 w 1795025"/>
                <a:gd name="connsiteY0" fmla="*/ 857250 h 962125"/>
                <a:gd name="connsiteX1" fmla="*/ 1638904 w 1795025"/>
                <a:gd name="connsiteY1" fmla="*/ 962025 h 962125"/>
                <a:gd name="connsiteX2" fmla="*/ 26004 w 1795025"/>
                <a:gd name="connsiteY2" fmla="*/ 838200 h 962125"/>
                <a:gd name="connsiteX3" fmla="*/ 652272 w 1795025"/>
                <a:gd name="connsiteY3" fmla="*/ 359568 h 962125"/>
                <a:gd name="connsiteX4" fmla="*/ 692754 w 1795025"/>
                <a:gd name="connsiteY4" fmla="*/ 0 h 962125"/>
                <a:gd name="connsiteX0" fmla="*/ 1696629 w 1727609"/>
                <a:gd name="connsiteY0" fmla="*/ 857250 h 962278"/>
                <a:gd name="connsiteX1" fmla="*/ 1575979 w 1727609"/>
                <a:gd name="connsiteY1" fmla="*/ 962025 h 962278"/>
                <a:gd name="connsiteX2" fmla="*/ 27373 w 1727609"/>
                <a:gd name="connsiteY2" fmla="*/ 826294 h 962278"/>
                <a:gd name="connsiteX3" fmla="*/ 589347 w 1727609"/>
                <a:gd name="connsiteY3" fmla="*/ 359568 h 962278"/>
                <a:gd name="connsiteX4" fmla="*/ 629829 w 1727609"/>
                <a:gd name="connsiteY4" fmla="*/ 0 h 962278"/>
                <a:gd name="connsiteX0" fmla="*/ 1704087 w 1735067"/>
                <a:gd name="connsiteY0" fmla="*/ 857250 h 962278"/>
                <a:gd name="connsiteX1" fmla="*/ 1583437 w 1735067"/>
                <a:gd name="connsiteY1" fmla="*/ 962025 h 962278"/>
                <a:gd name="connsiteX2" fmla="*/ 34831 w 1735067"/>
                <a:gd name="connsiteY2" fmla="*/ 826294 h 962278"/>
                <a:gd name="connsiteX3" fmla="*/ 596805 w 1735067"/>
                <a:gd name="connsiteY3" fmla="*/ 359568 h 962278"/>
                <a:gd name="connsiteX4" fmla="*/ 637287 w 1735067"/>
                <a:gd name="connsiteY4" fmla="*/ 0 h 962278"/>
                <a:gd name="connsiteX0" fmla="*/ 1685946 w 1716926"/>
                <a:gd name="connsiteY0" fmla="*/ 857250 h 962278"/>
                <a:gd name="connsiteX1" fmla="*/ 1565296 w 1716926"/>
                <a:gd name="connsiteY1" fmla="*/ 962025 h 962278"/>
                <a:gd name="connsiteX2" fmla="*/ 16690 w 1716926"/>
                <a:gd name="connsiteY2" fmla="*/ 826294 h 962278"/>
                <a:gd name="connsiteX3" fmla="*/ 578664 w 1716926"/>
                <a:gd name="connsiteY3" fmla="*/ 359568 h 962278"/>
                <a:gd name="connsiteX4" fmla="*/ 619146 w 1716926"/>
                <a:gd name="connsiteY4" fmla="*/ 0 h 962278"/>
                <a:gd name="connsiteX0" fmla="*/ 1716282 w 1749421"/>
                <a:gd name="connsiteY0" fmla="*/ 857250 h 962065"/>
                <a:gd name="connsiteX1" fmla="*/ 1595632 w 1749421"/>
                <a:gd name="connsiteY1" fmla="*/ 962025 h 962065"/>
                <a:gd name="connsiteX2" fmla="*/ 16070 w 1749421"/>
                <a:gd name="connsiteY2" fmla="*/ 845344 h 962065"/>
                <a:gd name="connsiteX3" fmla="*/ 609000 w 1749421"/>
                <a:gd name="connsiteY3" fmla="*/ 359568 h 962065"/>
                <a:gd name="connsiteX4" fmla="*/ 649482 w 1749421"/>
                <a:gd name="connsiteY4" fmla="*/ 0 h 962065"/>
                <a:gd name="connsiteX0" fmla="*/ 1716716 w 1749855"/>
                <a:gd name="connsiteY0" fmla="*/ 857250 h 962065"/>
                <a:gd name="connsiteX1" fmla="*/ 1596066 w 1749855"/>
                <a:gd name="connsiteY1" fmla="*/ 962025 h 962065"/>
                <a:gd name="connsiteX2" fmla="*/ 16504 w 1749855"/>
                <a:gd name="connsiteY2" fmla="*/ 845344 h 962065"/>
                <a:gd name="connsiteX3" fmla="*/ 609434 w 1749855"/>
                <a:gd name="connsiteY3" fmla="*/ 359568 h 962065"/>
                <a:gd name="connsiteX4" fmla="*/ 649916 w 1749855"/>
                <a:gd name="connsiteY4" fmla="*/ 0 h 962065"/>
                <a:gd name="connsiteX0" fmla="*/ 1716443 w 1749582"/>
                <a:gd name="connsiteY0" fmla="*/ 857250 h 962065"/>
                <a:gd name="connsiteX1" fmla="*/ 1595793 w 1749582"/>
                <a:gd name="connsiteY1" fmla="*/ 962025 h 962065"/>
                <a:gd name="connsiteX2" fmla="*/ 16231 w 1749582"/>
                <a:gd name="connsiteY2" fmla="*/ 845344 h 962065"/>
                <a:gd name="connsiteX3" fmla="*/ 609161 w 1749582"/>
                <a:gd name="connsiteY3" fmla="*/ 359568 h 962065"/>
                <a:gd name="connsiteX4" fmla="*/ 649643 w 1749582"/>
                <a:gd name="connsiteY4" fmla="*/ 0 h 962065"/>
                <a:gd name="connsiteX0" fmla="*/ 1702509 w 1735648"/>
                <a:gd name="connsiteY0" fmla="*/ 857250 h 962065"/>
                <a:gd name="connsiteX1" fmla="*/ 1581859 w 1735648"/>
                <a:gd name="connsiteY1" fmla="*/ 962025 h 962065"/>
                <a:gd name="connsiteX2" fmla="*/ 2297 w 1735648"/>
                <a:gd name="connsiteY2" fmla="*/ 845344 h 962065"/>
                <a:gd name="connsiteX3" fmla="*/ 595227 w 1735648"/>
                <a:gd name="connsiteY3" fmla="*/ 359568 h 962065"/>
                <a:gd name="connsiteX4" fmla="*/ 635709 w 1735648"/>
                <a:gd name="connsiteY4" fmla="*/ 0 h 962065"/>
                <a:gd name="connsiteX0" fmla="*/ 1702509 w 1735648"/>
                <a:gd name="connsiteY0" fmla="*/ 857250 h 962065"/>
                <a:gd name="connsiteX1" fmla="*/ 1581859 w 1735648"/>
                <a:gd name="connsiteY1" fmla="*/ 962025 h 962065"/>
                <a:gd name="connsiteX2" fmla="*/ 2297 w 1735648"/>
                <a:gd name="connsiteY2" fmla="*/ 845344 h 962065"/>
                <a:gd name="connsiteX3" fmla="*/ 595227 w 1735648"/>
                <a:gd name="connsiteY3" fmla="*/ 359568 h 962065"/>
                <a:gd name="connsiteX4" fmla="*/ 635709 w 1735648"/>
                <a:gd name="connsiteY4" fmla="*/ 0 h 962065"/>
                <a:gd name="connsiteX0" fmla="*/ 1681171 w 1712815"/>
                <a:gd name="connsiteY0" fmla="*/ 857250 h 962209"/>
                <a:gd name="connsiteX1" fmla="*/ 1560521 w 1712815"/>
                <a:gd name="connsiteY1" fmla="*/ 962025 h 962209"/>
                <a:gd name="connsiteX2" fmla="*/ 2390 w 1712815"/>
                <a:gd name="connsiteY2" fmla="*/ 831056 h 962209"/>
                <a:gd name="connsiteX3" fmla="*/ 573889 w 1712815"/>
                <a:gd name="connsiteY3" fmla="*/ 359568 h 962209"/>
                <a:gd name="connsiteX4" fmla="*/ 614371 w 1712815"/>
                <a:gd name="connsiteY4" fmla="*/ 0 h 962209"/>
                <a:gd name="connsiteX0" fmla="*/ 1681171 w 1712815"/>
                <a:gd name="connsiteY0" fmla="*/ 857250 h 962209"/>
                <a:gd name="connsiteX1" fmla="*/ 1560521 w 1712815"/>
                <a:gd name="connsiteY1" fmla="*/ 962025 h 962209"/>
                <a:gd name="connsiteX2" fmla="*/ 2390 w 1712815"/>
                <a:gd name="connsiteY2" fmla="*/ 831056 h 962209"/>
                <a:gd name="connsiteX3" fmla="*/ 573889 w 1712815"/>
                <a:gd name="connsiteY3" fmla="*/ 359568 h 962209"/>
                <a:gd name="connsiteX4" fmla="*/ 614371 w 1712815"/>
                <a:gd name="connsiteY4" fmla="*/ 0 h 962209"/>
                <a:gd name="connsiteX0" fmla="*/ 1681235 w 1712879"/>
                <a:gd name="connsiteY0" fmla="*/ 857250 h 962209"/>
                <a:gd name="connsiteX1" fmla="*/ 1560585 w 1712879"/>
                <a:gd name="connsiteY1" fmla="*/ 962025 h 962209"/>
                <a:gd name="connsiteX2" fmla="*/ 2454 w 1712879"/>
                <a:gd name="connsiteY2" fmla="*/ 831056 h 962209"/>
                <a:gd name="connsiteX3" fmla="*/ 573953 w 1712879"/>
                <a:gd name="connsiteY3" fmla="*/ 359568 h 962209"/>
                <a:gd name="connsiteX4" fmla="*/ 614435 w 1712879"/>
                <a:gd name="connsiteY4" fmla="*/ 0 h 962209"/>
                <a:gd name="connsiteX0" fmla="*/ 1678781 w 1710425"/>
                <a:gd name="connsiteY0" fmla="*/ 857250 h 962209"/>
                <a:gd name="connsiteX1" fmla="*/ 1558131 w 1710425"/>
                <a:gd name="connsiteY1" fmla="*/ 962025 h 962209"/>
                <a:gd name="connsiteX2" fmla="*/ 0 w 1710425"/>
                <a:gd name="connsiteY2" fmla="*/ 831056 h 962209"/>
                <a:gd name="connsiteX3" fmla="*/ 571499 w 1710425"/>
                <a:gd name="connsiteY3" fmla="*/ 359568 h 962209"/>
                <a:gd name="connsiteX4" fmla="*/ 611981 w 1710425"/>
                <a:gd name="connsiteY4" fmla="*/ 0 h 962209"/>
                <a:gd name="connsiteX0" fmla="*/ 1678781 w 1710425"/>
                <a:gd name="connsiteY0" fmla="*/ 857250 h 962209"/>
                <a:gd name="connsiteX1" fmla="*/ 1558131 w 1710425"/>
                <a:gd name="connsiteY1" fmla="*/ 962025 h 962209"/>
                <a:gd name="connsiteX2" fmla="*/ 0 w 1710425"/>
                <a:gd name="connsiteY2" fmla="*/ 831056 h 962209"/>
                <a:gd name="connsiteX3" fmla="*/ 571499 w 1710425"/>
                <a:gd name="connsiteY3" fmla="*/ 359568 h 962209"/>
                <a:gd name="connsiteX4" fmla="*/ 611981 w 1710425"/>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695450 w 1728256"/>
                <a:gd name="connsiteY0" fmla="*/ 857250 h 962278"/>
                <a:gd name="connsiteX1" fmla="*/ 1574800 w 1728256"/>
                <a:gd name="connsiteY1" fmla="*/ 962025 h 962278"/>
                <a:gd name="connsiteX2" fmla="*/ 0 w 1728256"/>
                <a:gd name="connsiteY2" fmla="*/ 826293 h 962278"/>
                <a:gd name="connsiteX3" fmla="*/ 588168 w 1728256"/>
                <a:gd name="connsiteY3" fmla="*/ 359568 h 962278"/>
                <a:gd name="connsiteX4" fmla="*/ 628650 w 1728256"/>
                <a:gd name="connsiteY4" fmla="*/ 0 h 962278"/>
                <a:gd name="connsiteX0" fmla="*/ 1696407 w 1729213"/>
                <a:gd name="connsiteY0" fmla="*/ 857250 h 962278"/>
                <a:gd name="connsiteX1" fmla="*/ 1575757 w 1729213"/>
                <a:gd name="connsiteY1" fmla="*/ 962025 h 962278"/>
                <a:gd name="connsiteX2" fmla="*/ 957 w 1729213"/>
                <a:gd name="connsiteY2" fmla="*/ 826293 h 962278"/>
                <a:gd name="connsiteX3" fmla="*/ 589125 w 1729213"/>
                <a:gd name="connsiteY3" fmla="*/ 359568 h 962278"/>
                <a:gd name="connsiteX4" fmla="*/ 629607 w 1729213"/>
                <a:gd name="connsiteY4" fmla="*/ 0 h 962278"/>
                <a:gd name="connsiteX0" fmla="*/ 1715446 w 1749584"/>
                <a:gd name="connsiteY0" fmla="*/ 857250 h 962178"/>
                <a:gd name="connsiteX1" fmla="*/ 1594796 w 1749584"/>
                <a:gd name="connsiteY1" fmla="*/ 962025 h 962178"/>
                <a:gd name="connsiteX2" fmla="*/ 946 w 1749584"/>
                <a:gd name="connsiteY2" fmla="*/ 833436 h 962178"/>
                <a:gd name="connsiteX3" fmla="*/ 608164 w 1749584"/>
                <a:gd name="connsiteY3" fmla="*/ 359568 h 962178"/>
                <a:gd name="connsiteX4" fmla="*/ 648646 w 1749584"/>
                <a:gd name="connsiteY4" fmla="*/ 0 h 962178"/>
                <a:gd name="connsiteX0" fmla="*/ 1737332 w 1754060"/>
                <a:gd name="connsiteY0" fmla="*/ 857250 h 962031"/>
                <a:gd name="connsiteX1" fmla="*/ 1616682 w 1754060"/>
                <a:gd name="connsiteY1" fmla="*/ 962025 h 962031"/>
                <a:gd name="connsiteX2" fmla="*/ 275392 w 1754060"/>
                <a:gd name="connsiteY2" fmla="*/ 862217 h 962031"/>
                <a:gd name="connsiteX3" fmla="*/ 22832 w 1754060"/>
                <a:gd name="connsiteY3" fmla="*/ 833436 h 962031"/>
                <a:gd name="connsiteX4" fmla="*/ 630050 w 1754060"/>
                <a:gd name="connsiteY4" fmla="*/ 359568 h 962031"/>
                <a:gd name="connsiteX5" fmla="*/ 670532 w 1754060"/>
                <a:gd name="connsiteY5" fmla="*/ 0 h 962031"/>
                <a:gd name="connsiteX0" fmla="*/ 1730806 w 1747534"/>
                <a:gd name="connsiteY0" fmla="*/ 857250 h 962031"/>
                <a:gd name="connsiteX1" fmla="*/ 1610156 w 1747534"/>
                <a:gd name="connsiteY1" fmla="*/ 962025 h 962031"/>
                <a:gd name="connsiteX2" fmla="*/ 268866 w 1747534"/>
                <a:gd name="connsiteY2" fmla="*/ 862217 h 962031"/>
                <a:gd name="connsiteX3" fmla="*/ 16306 w 1747534"/>
                <a:gd name="connsiteY3" fmla="*/ 833436 h 962031"/>
                <a:gd name="connsiteX4" fmla="*/ 623524 w 1747534"/>
                <a:gd name="connsiteY4" fmla="*/ 359568 h 962031"/>
                <a:gd name="connsiteX5" fmla="*/ 664006 w 1747534"/>
                <a:gd name="connsiteY5" fmla="*/ 0 h 962031"/>
                <a:gd name="connsiteX0" fmla="*/ 1676823 w 1693551"/>
                <a:gd name="connsiteY0" fmla="*/ 857250 h 962031"/>
                <a:gd name="connsiteX1" fmla="*/ 1556173 w 1693551"/>
                <a:gd name="connsiteY1" fmla="*/ 962025 h 962031"/>
                <a:gd name="connsiteX2" fmla="*/ 214883 w 1693551"/>
                <a:gd name="connsiteY2" fmla="*/ 862217 h 962031"/>
                <a:gd name="connsiteX3" fmla="*/ 24235 w 1693551"/>
                <a:gd name="connsiteY3" fmla="*/ 781049 h 962031"/>
                <a:gd name="connsiteX4" fmla="*/ 569541 w 1693551"/>
                <a:gd name="connsiteY4" fmla="*/ 359568 h 962031"/>
                <a:gd name="connsiteX5" fmla="*/ 610023 w 1693551"/>
                <a:gd name="connsiteY5"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8445 w 1701973"/>
                <a:gd name="connsiteY5"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20975 w 1701973"/>
                <a:gd name="connsiteY5" fmla="*/ 164512 h 962031"/>
                <a:gd name="connsiteX6" fmla="*/ 618445 w 1701973"/>
                <a:gd name="connsiteY6" fmla="*/ 0 h 962031"/>
                <a:gd name="connsiteX0" fmla="*/ 1685245 w 1685245"/>
                <a:gd name="connsiteY0" fmla="*/ 857250 h 959650"/>
                <a:gd name="connsiteX1" fmla="*/ 1457439 w 1685245"/>
                <a:gd name="connsiteY1" fmla="*/ 959644 h 959650"/>
                <a:gd name="connsiteX2" fmla="*/ 223305 w 1685245"/>
                <a:gd name="connsiteY2" fmla="*/ 862217 h 959650"/>
                <a:gd name="connsiteX3" fmla="*/ 32657 w 1685245"/>
                <a:gd name="connsiteY3" fmla="*/ 781049 h 959650"/>
                <a:gd name="connsiteX4" fmla="*/ 577963 w 1685245"/>
                <a:gd name="connsiteY4" fmla="*/ 359568 h 959650"/>
                <a:gd name="connsiteX5" fmla="*/ 620975 w 1685245"/>
                <a:gd name="connsiteY5" fmla="*/ 164512 h 959650"/>
                <a:gd name="connsiteX6" fmla="*/ 618445 w 1685245"/>
                <a:gd name="connsiteY6" fmla="*/ 0 h 959650"/>
                <a:gd name="connsiteX0" fmla="*/ 1685245 w 1685245"/>
                <a:gd name="connsiteY0" fmla="*/ 857250 h 961822"/>
                <a:gd name="connsiteX1" fmla="*/ 1616337 w 1685245"/>
                <a:gd name="connsiteY1" fmla="*/ 924131 h 961822"/>
                <a:gd name="connsiteX2" fmla="*/ 1457439 w 1685245"/>
                <a:gd name="connsiteY2" fmla="*/ 959644 h 961822"/>
                <a:gd name="connsiteX3" fmla="*/ 223305 w 1685245"/>
                <a:gd name="connsiteY3" fmla="*/ 862217 h 961822"/>
                <a:gd name="connsiteX4" fmla="*/ 32657 w 1685245"/>
                <a:gd name="connsiteY4" fmla="*/ 781049 h 961822"/>
                <a:gd name="connsiteX5" fmla="*/ 577963 w 1685245"/>
                <a:gd name="connsiteY5" fmla="*/ 359568 h 961822"/>
                <a:gd name="connsiteX6" fmla="*/ 620975 w 1685245"/>
                <a:gd name="connsiteY6" fmla="*/ 164512 h 961822"/>
                <a:gd name="connsiteX7" fmla="*/ 618445 w 1685245"/>
                <a:gd name="connsiteY7" fmla="*/ 0 h 961822"/>
                <a:gd name="connsiteX0" fmla="*/ 1685245 w 1685245"/>
                <a:gd name="connsiteY0" fmla="*/ 857250 h 953018"/>
                <a:gd name="connsiteX1" fmla="*/ 1616337 w 1685245"/>
                <a:gd name="connsiteY1" fmla="*/ 924131 h 953018"/>
                <a:gd name="connsiteX2" fmla="*/ 1414576 w 1685245"/>
                <a:gd name="connsiteY2" fmla="*/ 950119 h 953018"/>
                <a:gd name="connsiteX3" fmla="*/ 223305 w 1685245"/>
                <a:gd name="connsiteY3" fmla="*/ 862217 h 953018"/>
                <a:gd name="connsiteX4" fmla="*/ 32657 w 1685245"/>
                <a:gd name="connsiteY4" fmla="*/ 781049 h 953018"/>
                <a:gd name="connsiteX5" fmla="*/ 577963 w 1685245"/>
                <a:gd name="connsiteY5" fmla="*/ 359568 h 953018"/>
                <a:gd name="connsiteX6" fmla="*/ 620975 w 1685245"/>
                <a:gd name="connsiteY6" fmla="*/ 164512 h 953018"/>
                <a:gd name="connsiteX7" fmla="*/ 618445 w 1685245"/>
                <a:gd name="connsiteY7" fmla="*/ 0 h 953018"/>
                <a:gd name="connsiteX0" fmla="*/ 1685245 w 1685245"/>
                <a:gd name="connsiteY0" fmla="*/ 857250 h 956840"/>
                <a:gd name="connsiteX1" fmla="*/ 1616337 w 1685245"/>
                <a:gd name="connsiteY1" fmla="*/ 924131 h 956840"/>
                <a:gd name="connsiteX2" fmla="*/ 1414576 w 1685245"/>
                <a:gd name="connsiteY2" fmla="*/ 950119 h 956840"/>
                <a:gd name="connsiteX3" fmla="*/ 223305 w 1685245"/>
                <a:gd name="connsiteY3" fmla="*/ 862217 h 956840"/>
                <a:gd name="connsiteX4" fmla="*/ 32657 w 1685245"/>
                <a:gd name="connsiteY4" fmla="*/ 781049 h 956840"/>
                <a:gd name="connsiteX5" fmla="*/ 577963 w 1685245"/>
                <a:gd name="connsiteY5" fmla="*/ 359568 h 956840"/>
                <a:gd name="connsiteX6" fmla="*/ 620975 w 1685245"/>
                <a:gd name="connsiteY6" fmla="*/ 164512 h 956840"/>
                <a:gd name="connsiteX7" fmla="*/ 618445 w 1685245"/>
                <a:gd name="connsiteY7" fmla="*/ 0 h 956840"/>
                <a:gd name="connsiteX0" fmla="*/ 1685245 w 1685245"/>
                <a:gd name="connsiteY0" fmla="*/ 857250 h 958892"/>
                <a:gd name="connsiteX1" fmla="*/ 1616337 w 1685245"/>
                <a:gd name="connsiteY1" fmla="*/ 924131 h 958892"/>
                <a:gd name="connsiteX2" fmla="*/ 14193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4193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18594 w 1685245"/>
                <a:gd name="connsiteY6" fmla="*/ 178799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18445 w 1685245"/>
                <a:gd name="connsiteY6" fmla="*/ 0 h 958892"/>
                <a:gd name="connsiteX0" fmla="*/ 1685245 w 1685245"/>
                <a:gd name="connsiteY0" fmla="*/ 497682 h 599324"/>
                <a:gd name="connsiteX1" fmla="*/ 1616337 w 1685245"/>
                <a:gd name="connsiteY1" fmla="*/ 564563 h 599324"/>
                <a:gd name="connsiteX2" fmla="*/ 1381238 w 1685245"/>
                <a:gd name="connsiteY2" fmla="*/ 592932 h 599324"/>
                <a:gd name="connsiteX3" fmla="*/ 223305 w 1685245"/>
                <a:gd name="connsiteY3" fmla="*/ 502649 h 599324"/>
                <a:gd name="connsiteX4" fmla="*/ 32657 w 1685245"/>
                <a:gd name="connsiteY4" fmla="*/ 421481 h 599324"/>
                <a:gd name="connsiteX5" fmla="*/ 577963 w 1685245"/>
                <a:gd name="connsiteY5" fmla="*/ 0 h 599324"/>
                <a:gd name="connsiteX0" fmla="*/ 1660892 w 1660892"/>
                <a:gd name="connsiteY0" fmla="*/ 497682 h 592932"/>
                <a:gd name="connsiteX1" fmla="*/ 1591984 w 1660892"/>
                <a:gd name="connsiteY1" fmla="*/ 564563 h 592932"/>
                <a:gd name="connsiteX2" fmla="*/ 1356885 w 1660892"/>
                <a:gd name="connsiteY2" fmla="*/ 592932 h 592932"/>
                <a:gd name="connsiteX3" fmla="*/ 1020483 w 1660892"/>
                <a:gd name="connsiteY3" fmla="*/ 564561 h 592932"/>
                <a:gd name="connsiteX4" fmla="*/ 8304 w 1660892"/>
                <a:gd name="connsiteY4" fmla="*/ 421481 h 592932"/>
                <a:gd name="connsiteX5" fmla="*/ 553610 w 1660892"/>
                <a:gd name="connsiteY5" fmla="*/ 0 h 592932"/>
                <a:gd name="connsiteX0" fmla="*/ 1143582 w 1143582"/>
                <a:gd name="connsiteY0" fmla="*/ 497682 h 592932"/>
                <a:gd name="connsiteX1" fmla="*/ 1074674 w 1143582"/>
                <a:gd name="connsiteY1" fmla="*/ 564563 h 592932"/>
                <a:gd name="connsiteX2" fmla="*/ 839575 w 1143582"/>
                <a:gd name="connsiteY2" fmla="*/ 592932 h 592932"/>
                <a:gd name="connsiteX3" fmla="*/ 503173 w 1143582"/>
                <a:gd name="connsiteY3" fmla="*/ 564561 h 592932"/>
                <a:gd name="connsiteX4" fmla="*/ 245850 w 1143582"/>
                <a:gd name="connsiteY4" fmla="*/ 483394 h 592932"/>
                <a:gd name="connsiteX5" fmla="*/ 36300 w 1143582"/>
                <a:gd name="connsiteY5" fmla="*/ 0 h 592932"/>
                <a:gd name="connsiteX0" fmla="*/ 927557 w 927557"/>
                <a:gd name="connsiteY0" fmla="*/ 59532 h 154782"/>
                <a:gd name="connsiteX1" fmla="*/ 858649 w 927557"/>
                <a:gd name="connsiteY1" fmla="*/ 126413 h 154782"/>
                <a:gd name="connsiteX2" fmla="*/ 623550 w 927557"/>
                <a:gd name="connsiteY2" fmla="*/ 154782 h 154782"/>
                <a:gd name="connsiteX3" fmla="*/ 287148 w 927557"/>
                <a:gd name="connsiteY3" fmla="*/ 126411 h 154782"/>
                <a:gd name="connsiteX4" fmla="*/ 29825 w 927557"/>
                <a:gd name="connsiteY4" fmla="*/ 45244 h 154782"/>
                <a:gd name="connsiteX5" fmla="*/ 94119 w 927557"/>
                <a:gd name="connsiteY5" fmla="*/ 0 h 154782"/>
                <a:gd name="connsiteX0" fmla="*/ 927557 w 927557"/>
                <a:gd name="connsiteY0" fmla="*/ 59532 h 154782"/>
                <a:gd name="connsiteX1" fmla="*/ 858649 w 927557"/>
                <a:gd name="connsiteY1" fmla="*/ 126413 h 154782"/>
                <a:gd name="connsiteX2" fmla="*/ 623550 w 927557"/>
                <a:gd name="connsiteY2" fmla="*/ 154782 h 154782"/>
                <a:gd name="connsiteX3" fmla="*/ 287148 w 927557"/>
                <a:gd name="connsiteY3" fmla="*/ 126411 h 154782"/>
                <a:gd name="connsiteX4" fmla="*/ 29825 w 927557"/>
                <a:gd name="connsiteY4" fmla="*/ 45244 h 154782"/>
                <a:gd name="connsiteX5" fmla="*/ 94119 w 927557"/>
                <a:gd name="connsiteY5" fmla="*/ 0 h 154782"/>
                <a:gd name="connsiteX0" fmla="*/ 928869 w 928869"/>
                <a:gd name="connsiteY0" fmla="*/ 59532 h 154782"/>
                <a:gd name="connsiteX1" fmla="*/ 859961 w 928869"/>
                <a:gd name="connsiteY1" fmla="*/ 126413 h 154782"/>
                <a:gd name="connsiteX2" fmla="*/ 624862 w 928869"/>
                <a:gd name="connsiteY2" fmla="*/ 154782 h 154782"/>
                <a:gd name="connsiteX3" fmla="*/ 288460 w 928869"/>
                <a:gd name="connsiteY3" fmla="*/ 126411 h 154782"/>
                <a:gd name="connsiteX4" fmla="*/ 31137 w 928869"/>
                <a:gd name="connsiteY4" fmla="*/ 45244 h 154782"/>
                <a:gd name="connsiteX5" fmla="*/ 95431 w 928869"/>
                <a:gd name="connsiteY5" fmla="*/ 0 h 154782"/>
                <a:gd name="connsiteX0" fmla="*/ 928869 w 928869"/>
                <a:gd name="connsiteY0" fmla="*/ 59532 h 154782"/>
                <a:gd name="connsiteX1" fmla="*/ 859961 w 928869"/>
                <a:gd name="connsiteY1" fmla="*/ 126413 h 154782"/>
                <a:gd name="connsiteX2" fmla="*/ 624862 w 928869"/>
                <a:gd name="connsiteY2" fmla="*/ 154782 h 154782"/>
                <a:gd name="connsiteX3" fmla="*/ 288460 w 928869"/>
                <a:gd name="connsiteY3" fmla="*/ 126411 h 154782"/>
                <a:gd name="connsiteX4" fmla="*/ 31137 w 928869"/>
                <a:gd name="connsiteY4" fmla="*/ 45244 h 154782"/>
                <a:gd name="connsiteX5" fmla="*/ 95431 w 928869"/>
                <a:gd name="connsiteY5" fmla="*/ 0 h 154782"/>
                <a:gd name="connsiteX0" fmla="*/ 928869 w 928869"/>
                <a:gd name="connsiteY0" fmla="*/ 59532 h 162179"/>
                <a:gd name="connsiteX1" fmla="*/ 859961 w 928869"/>
                <a:gd name="connsiteY1" fmla="*/ 126413 h 162179"/>
                <a:gd name="connsiteX2" fmla="*/ 624862 w 928869"/>
                <a:gd name="connsiteY2" fmla="*/ 154782 h 162179"/>
                <a:gd name="connsiteX3" fmla="*/ 288460 w 928869"/>
                <a:gd name="connsiteY3" fmla="*/ 126411 h 162179"/>
                <a:gd name="connsiteX4" fmla="*/ 31137 w 928869"/>
                <a:gd name="connsiteY4" fmla="*/ 45244 h 162179"/>
                <a:gd name="connsiteX5" fmla="*/ 95431 w 928869"/>
                <a:gd name="connsiteY5" fmla="*/ 0 h 162179"/>
                <a:gd name="connsiteX0" fmla="*/ 928869 w 928869"/>
                <a:gd name="connsiteY0" fmla="*/ 59532 h 164840"/>
                <a:gd name="connsiteX1" fmla="*/ 859961 w 928869"/>
                <a:gd name="connsiteY1" fmla="*/ 126413 h 164840"/>
                <a:gd name="connsiteX2" fmla="*/ 624862 w 928869"/>
                <a:gd name="connsiteY2" fmla="*/ 154782 h 164840"/>
                <a:gd name="connsiteX3" fmla="*/ 288460 w 928869"/>
                <a:gd name="connsiteY3" fmla="*/ 126411 h 164840"/>
                <a:gd name="connsiteX4" fmla="*/ 31137 w 928869"/>
                <a:gd name="connsiteY4" fmla="*/ 45244 h 164840"/>
                <a:gd name="connsiteX5" fmla="*/ 95431 w 928869"/>
                <a:gd name="connsiteY5" fmla="*/ 0 h 164840"/>
                <a:gd name="connsiteX0" fmla="*/ 928869 w 928869"/>
                <a:gd name="connsiteY0" fmla="*/ 59532 h 166155"/>
                <a:gd name="connsiteX1" fmla="*/ 859961 w 928869"/>
                <a:gd name="connsiteY1" fmla="*/ 126413 h 166155"/>
                <a:gd name="connsiteX2" fmla="*/ 691537 w 928869"/>
                <a:gd name="connsiteY2" fmla="*/ 157164 h 166155"/>
                <a:gd name="connsiteX3" fmla="*/ 288460 w 928869"/>
                <a:gd name="connsiteY3" fmla="*/ 126411 h 166155"/>
                <a:gd name="connsiteX4" fmla="*/ 31137 w 928869"/>
                <a:gd name="connsiteY4" fmla="*/ 45244 h 166155"/>
                <a:gd name="connsiteX5" fmla="*/ 95431 w 928869"/>
                <a:gd name="connsiteY5" fmla="*/ 0 h 166155"/>
                <a:gd name="connsiteX0" fmla="*/ 928869 w 928869"/>
                <a:gd name="connsiteY0" fmla="*/ 59532 h 162522"/>
                <a:gd name="connsiteX1" fmla="*/ 859961 w 928869"/>
                <a:gd name="connsiteY1" fmla="*/ 126413 h 162522"/>
                <a:gd name="connsiteX2" fmla="*/ 691537 w 928869"/>
                <a:gd name="connsiteY2" fmla="*/ 157164 h 162522"/>
                <a:gd name="connsiteX3" fmla="*/ 288460 w 928869"/>
                <a:gd name="connsiteY3" fmla="*/ 126411 h 162522"/>
                <a:gd name="connsiteX4" fmla="*/ 31137 w 928869"/>
                <a:gd name="connsiteY4" fmla="*/ 45244 h 162522"/>
                <a:gd name="connsiteX5" fmla="*/ 95431 w 928869"/>
                <a:gd name="connsiteY5" fmla="*/ 0 h 162522"/>
                <a:gd name="connsiteX0" fmla="*/ 919368 w 919368"/>
                <a:gd name="connsiteY0" fmla="*/ 59532 h 159830"/>
                <a:gd name="connsiteX1" fmla="*/ 850460 w 919368"/>
                <a:gd name="connsiteY1" fmla="*/ 126413 h 159830"/>
                <a:gd name="connsiteX2" fmla="*/ 682036 w 919368"/>
                <a:gd name="connsiteY2" fmla="*/ 157164 h 159830"/>
                <a:gd name="connsiteX3" fmla="*/ 155134 w 919368"/>
                <a:gd name="connsiteY3" fmla="*/ 121648 h 159830"/>
                <a:gd name="connsiteX4" fmla="*/ 21636 w 919368"/>
                <a:gd name="connsiteY4" fmla="*/ 45244 h 159830"/>
                <a:gd name="connsiteX5" fmla="*/ 85930 w 919368"/>
                <a:gd name="connsiteY5" fmla="*/ 0 h 159830"/>
                <a:gd name="connsiteX0" fmla="*/ 918286 w 918286"/>
                <a:gd name="connsiteY0" fmla="*/ 59532 h 159830"/>
                <a:gd name="connsiteX1" fmla="*/ 849378 w 918286"/>
                <a:gd name="connsiteY1" fmla="*/ 126413 h 159830"/>
                <a:gd name="connsiteX2" fmla="*/ 680954 w 918286"/>
                <a:gd name="connsiteY2" fmla="*/ 157164 h 159830"/>
                <a:gd name="connsiteX3" fmla="*/ 154052 w 918286"/>
                <a:gd name="connsiteY3" fmla="*/ 121648 h 159830"/>
                <a:gd name="connsiteX4" fmla="*/ 20554 w 918286"/>
                <a:gd name="connsiteY4" fmla="*/ 45244 h 159830"/>
                <a:gd name="connsiteX5" fmla="*/ 84848 w 918286"/>
                <a:gd name="connsiteY5" fmla="*/ 0 h 159830"/>
                <a:gd name="connsiteX0" fmla="*/ 915231 w 915231"/>
                <a:gd name="connsiteY0" fmla="*/ 59532 h 159830"/>
                <a:gd name="connsiteX1" fmla="*/ 846323 w 915231"/>
                <a:gd name="connsiteY1" fmla="*/ 126413 h 159830"/>
                <a:gd name="connsiteX2" fmla="*/ 677899 w 915231"/>
                <a:gd name="connsiteY2" fmla="*/ 157164 h 159830"/>
                <a:gd name="connsiteX3" fmla="*/ 150997 w 915231"/>
                <a:gd name="connsiteY3" fmla="*/ 121648 h 159830"/>
                <a:gd name="connsiteX4" fmla="*/ 22261 w 915231"/>
                <a:gd name="connsiteY4" fmla="*/ 59531 h 159830"/>
                <a:gd name="connsiteX5" fmla="*/ 81793 w 915231"/>
                <a:gd name="connsiteY5" fmla="*/ 0 h 159830"/>
                <a:gd name="connsiteX0" fmla="*/ 916746 w 916746"/>
                <a:gd name="connsiteY0" fmla="*/ 59532 h 159830"/>
                <a:gd name="connsiteX1" fmla="*/ 847838 w 916746"/>
                <a:gd name="connsiteY1" fmla="*/ 126413 h 159830"/>
                <a:gd name="connsiteX2" fmla="*/ 679414 w 916746"/>
                <a:gd name="connsiteY2" fmla="*/ 157164 h 159830"/>
                <a:gd name="connsiteX3" fmla="*/ 152512 w 916746"/>
                <a:gd name="connsiteY3" fmla="*/ 121648 h 159830"/>
                <a:gd name="connsiteX4" fmla="*/ 21395 w 916746"/>
                <a:gd name="connsiteY4" fmla="*/ 76199 h 159830"/>
                <a:gd name="connsiteX5" fmla="*/ 83308 w 916746"/>
                <a:gd name="connsiteY5" fmla="*/ 0 h 159830"/>
                <a:gd name="connsiteX0" fmla="*/ 917675 w 917675"/>
                <a:gd name="connsiteY0" fmla="*/ 59532 h 159830"/>
                <a:gd name="connsiteX1" fmla="*/ 848767 w 917675"/>
                <a:gd name="connsiteY1" fmla="*/ 126413 h 159830"/>
                <a:gd name="connsiteX2" fmla="*/ 680343 w 917675"/>
                <a:gd name="connsiteY2" fmla="*/ 157164 h 159830"/>
                <a:gd name="connsiteX3" fmla="*/ 153441 w 917675"/>
                <a:gd name="connsiteY3" fmla="*/ 121648 h 159830"/>
                <a:gd name="connsiteX4" fmla="*/ 22324 w 917675"/>
                <a:gd name="connsiteY4" fmla="*/ 76199 h 159830"/>
                <a:gd name="connsiteX5" fmla="*/ 84237 w 917675"/>
                <a:gd name="connsiteY5" fmla="*/ 0 h 159830"/>
                <a:gd name="connsiteX0" fmla="*/ 917675 w 917675"/>
                <a:gd name="connsiteY0" fmla="*/ 59609 h 159907"/>
                <a:gd name="connsiteX1" fmla="*/ 848767 w 917675"/>
                <a:gd name="connsiteY1" fmla="*/ 126490 h 159907"/>
                <a:gd name="connsiteX2" fmla="*/ 680343 w 917675"/>
                <a:gd name="connsiteY2" fmla="*/ 157241 h 159907"/>
                <a:gd name="connsiteX3" fmla="*/ 153441 w 917675"/>
                <a:gd name="connsiteY3" fmla="*/ 121725 h 159907"/>
                <a:gd name="connsiteX4" fmla="*/ 22324 w 917675"/>
                <a:gd name="connsiteY4" fmla="*/ 76276 h 159907"/>
                <a:gd name="connsiteX5" fmla="*/ 84237 w 917675"/>
                <a:gd name="connsiteY5" fmla="*/ 77 h 159907"/>
                <a:gd name="connsiteX0" fmla="*/ 902981 w 902981"/>
                <a:gd name="connsiteY0" fmla="*/ 28664 h 128962"/>
                <a:gd name="connsiteX1" fmla="*/ 834073 w 902981"/>
                <a:gd name="connsiteY1" fmla="*/ 95545 h 128962"/>
                <a:gd name="connsiteX2" fmla="*/ 665649 w 902981"/>
                <a:gd name="connsiteY2" fmla="*/ 126296 h 128962"/>
                <a:gd name="connsiteX3" fmla="*/ 138747 w 902981"/>
                <a:gd name="connsiteY3" fmla="*/ 90780 h 128962"/>
                <a:gd name="connsiteX4" fmla="*/ 7630 w 902981"/>
                <a:gd name="connsiteY4" fmla="*/ 45331 h 128962"/>
                <a:gd name="connsiteX5" fmla="*/ 57637 w 902981"/>
                <a:gd name="connsiteY5" fmla="*/ 88 h 128962"/>
                <a:gd name="connsiteX0" fmla="*/ 903972 w 903972"/>
                <a:gd name="connsiteY0" fmla="*/ 57202 h 157500"/>
                <a:gd name="connsiteX1" fmla="*/ 835064 w 903972"/>
                <a:gd name="connsiteY1" fmla="*/ 124083 h 157500"/>
                <a:gd name="connsiteX2" fmla="*/ 666640 w 903972"/>
                <a:gd name="connsiteY2" fmla="*/ 154834 h 157500"/>
                <a:gd name="connsiteX3" fmla="*/ 139738 w 903972"/>
                <a:gd name="connsiteY3" fmla="*/ 119318 h 157500"/>
                <a:gd name="connsiteX4" fmla="*/ 8621 w 903972"/>
                <a:gd name="connsiteY4" fmla="*/ 73869 h 157500"/>
                <a:gd name="connsiteX5" fmla="*/ 72915 w 903972"/>
                <a:gd name="connsiteY5" fmla="*/ 51 h 157500"/>
                <a:gd name="connsiteX0" fmla="*/ 914093 w 914093"/>
                <a:gd name="connsiteY0" fmla="*/ 57204 h 157502"/>
                <a:gd name="connsiteX1" fmla="*/ 845185 w 914093"/>
                <a:gd name="connsiteY1" fmla="*/ 124085 h 157502"/>
                <a:gd name="connsiteX2" fmla="*/ 676761 w 914093"/>
                <a:gd name="connsiteY2" fmla="*/ 154836 h 157502"/>
                <a:gd name="connsiteX3" fmla="*/ 149859 w 914093"/>
                <a:gd name="connsiteY3" fmla="*/ 119320 h 157502"/>
                <a:gd name="connsiteX4" fmla="*/ 18742 w 914093"/>
                <a:gd name="connsiteY4" fmla="*/ 73871 h 157502"/>
                <a:gd name="connsiteX5" fmla="*/ 83036 w 914093"/>
                <a:gd name="connsiteY5" fmla="*/ 53 h 157502"/>
                <a:gd name="connsiteX0" fmla="*/ 923611 w 923611"/>
                <a:gd name="connsiteY0" fmla="*/ 57204 h 157502"/>
                <a:gd name="connsiteX1" fmla="*/ 854703 w 923611"/>
                <a:gd name="connsiteY1" fmla="*/ 124085 h 157502"/>
                <a:gd name="connsiteX2" fmla="*/ 686279 w 923611"/>
                <a:gd name="connsiteY2" fmla="*/ 154836 h 157502"/>
                <a:gd name="connsiteX3" fmla="*/ 159377 w 923611"/>
                <a:gd name="connsiteY3" fmla="*/ 119320 h 157502"/>
                <a:gd name="connsiteX4" fmla="*/ 13972 w 923611"/>
                <a:gd name="connsiteY4" fmla="*/ 73871 h 157502"/>
                <a:gd name="connsiteX5" fmla="*/ 92554 w 923611"/>
                <a:gd name="connsiteY5" fmla="*/ 53 h 157502"/>
                <a:gd name="connsiteX0" fmla="*/ 910855 w 910855"/>
                <a:gd name="connsiteY0" fmla="*/ 57203 h 157674"/>
                <a:gd name="connsiteX1" fmla="*/ 841947 w 910855"/>
                <a:gd name="connsiteY1" fmla="*/ 124084 h 157674"/>
                <a:gd name="connsiteX2" fmla="*/ 673523 w 910855"/>
                <a:gd name="connsiteY2" fmla="*/ 154835 h 157674"/>
                <a:gd name="connsiteX3" fmla="*/ 153764 w 910855"/>
                <a:gd name="connsiteY3" fmla="*/ 116938 h 157674"/>
                <a:gd name="connsiteX4" fmla="*/ 1216 w 910855"/>
                <a:gd name="connsiteY4" fmla="*/ 73870 h 157674"/>
                <a:gd name="connsiteX5" fmla="*/ 79798 w 910855"/>
                <a:gd name="connsiteY5" fmla="*/ 52 h 157674"/>
                <a:gd name="connsiteX0" fmla="*/ 919840 w 919840"/>
                <a:gd name="connsiteY0" fmla="*/ 57204 h 157675"/>
                <a:gd name="connsiteX1" fmla="*/ 850932 w 919840"/>
                <a:gd name="connsiteY1" fmla="*/ 124085 h 157675"/>
                <a:gd name="connsiteX2" fmla="*/ 682508 w 919840"/>
                <a:gd name="connsiteY2" fmla="*/ 154836 h 157675"/>
                <a:gd name="connsiteX3" fmla="*/ 162749 w 919840"/>
                <a:gd name="connsiteY3" fmla="*/ 116939 h 157675"/>
                <a:gd name="connsiteX4" fmla="*/ 10201 w 919840"/>
                <a:gd name="connsiteY4" fmla="*/ 73871 h 157675"/>
                <a:gd name="connsiteX5" fmla="*/ 88783 w 919840"/>
                <a:gd name="connsiteY5" fmla="*/ 53 h 157675"/>
                <a:gd name="connsiteX0" fmla="*/ 922773 w 922773"/>
                <a:gd name="connsiteY0" fmla="*/ 57218 h 157689"/>
                <a:gd name="connsiteX1" fmla="*/ 853865 w 922773"/>
                <a:gd name="connsiteY1" fmla="*/ 124099 h 157689"/>
                <a:gd name="connsiteX2" fmla="*/ 685441 w 922773"/>
                <a:gd name="connsiteY2" fmla="*/ 154850 h 157689"/>
                <a:gd name="connsiteX3" fmla="*/ 165682 w 922773"/>
                <a:gd name="connsiteY3" fmla="*/ 116953 h 157689"/>
                <a:gd name="connsiteX4" fmla="*/ 13134 w 922773"/>
                <a:gd name="connsiteY4" fmla="*/ 73885 h 157689"/>
                <a:gd name="connsiteX5" fmla="*/ 91716 w 922773"/>
                <a:gd name="connsiteY5" fmla="*/ 67 h 157689"/>
                <a:gd name="connsiteX0" fmla="*/ 911192 w 911192"/>
                <a:gd name="connsiteY0" fmla="*/ 57237 h 157708"/>
                <a:gd name="connsiteX1" fmla="*/ 842284 w 911192"/>
                <a:gd name="connsiteY1" fmla="*/ 124118 h 157708"/>
                <a:gd name="connsiteX2" fmla="*/ 673860 w 911192"/>
                <a:gd name="connsiteY2" fmla="*/ 154869 h 157708"/>
                <a:gd name="connsiteX3" fmla="*/ 154101 w 911192"/>
                <a:gd name="connsiteY3" fmla="*/ 116972 h 157708"/>
                <a:gd name="connsiteX4" fmla="*/ 18222 w 911192"/>
                <a:gd name="connsiteY4" fmla="*/ 64379 h 157708"/>
                <a:gd name="connsiteX5" fmla="*/ 80135 w 911192"/>
                <a:gd name="connsiteY5" fmla="*/ 86 h 157708"/>
                <a:gd name="connsiteX0" fmla="*/ 915339 w 915339"/>
                <a:gd name="connsiteY0" fmla="*/ 57239 h 157710"/>
                <a:gd name="connsiteX1" fmla="*/ 846431 w 915339"/>
                <a:gd name="connsiteY1" fmla="*/ 124120 h 157710"/>
                <a:gd name="connsiteX2" fmla="*/ 678007 w 915339"/>
                <a:gd name="connsiteY2" fmla="*/ 154871 h 157710"/>
                <a:gd name="connsiteX3" fmla="*/ 158248 w 915339"/>
                <a:gd name="connsiteY3" fmla="*/ 116974 h 157710"/>
                <a:gd name="connsiteX4" fmla="*/ 22369 w 915339"/>
                <a:gd name="connsiteY4" fmla="*/ 64381 h 157710"/>
                <a:gd name="connsiteX5" fmla="*/ 84282 w 915339"/>
                <a:gd name="connsiteY5" fmla="*/ 88 h 157710"/>
                <a:gd name="connsiteX0" fmla="*/ 901952 w 901952"/>
                <a:gd name="connsiteY0" fmla="*/ 57384 h 157855"/>
                <a:gd name="connsiteX1" fmla="*/ 833044 w 901952"/>
                <a:gd name="connsiteY1" fmla="*/ 124265 h 157855"/>
                <a:gd name="connsiteX2" fmla="*/ 664620 w 901952"/>
                <a:gd name="connsiteY2" fmla="*/ 155016 h 157855"/>
                <a:gd name="connsiteX3" fmla="*/ 144861 w 901952"/>
                <a:gd name="connsiteY3" fmla="*/ 117119 h 157855"/>
                <a:gd name="connsiteX4" fmla="*/ 30413 w 901952"/>
                <a:gd name="connsiteY4" fmla="*/ 43095 h 157855"/>
                <a:gd name="connsiteX5" fmla="*/ 70895 w 901952"/>
                <a:gd name="connsiteY5" fmla="*/ 233 h 157855"/>
                <a:gd name="connsiteX0" fmla="*/ 904773 w 904773"/>
                <a:gd name="connsiteY0" fmla="*/ 57350 h 157821"/>
                <a:gd name="connsiteX1" fmla="*/ 835865 w 904773"/>
                <a:gd name="connsiteY1" fmla="*/ 124231 h 157821"/>
                <a:gd name="connsiteX2" fmla="*/ 667441 w 904773"/>
                <a:gd name="connsiteY2" fmla="*/ 154982 h 157821"/>
                <a:gd name="connsiteX3" fmla="*/ 147682 w 904773"/>
                <a:gd name="connsiteY3" fmla="*/ 117085 h 157821"/>
                <a:gd name="connsiteX4" fmla="*/ 28471 w 904773"/>
                <a:gd name="connsiteY4" fmla="*/ 45442 h 157821"/>
                <a:gd name="connsiteX5" fmla="*/ 73716 w 904773"/>
                <a:gd name="connsiteY5" fmla="*/ 199 h 157821"/>
                <a:gd name="connsiteX0" fmla="*/ 904773 w 904773"/>
                <a:gd name="connsiteY0" fmla="*/ 57287 h 157758"/>
                <a:gd name="connsiteX1" fmla="*/ 835865 w 904773"/>
                <a:gd name="connsiteY1" fmla="*/ 124168 h 157758"/>
                <a:gd name="connsiteX2" fmla="*/ 667441 w 904773"/>
                <a:gd name="connsiteY2" fmla="*/ 154919 h 157758"/>
                <a:gd name="connsiteX3" fmla="*/ 147682 w 904773"/>
                <a:gd name="connsiteY3" fmla="*/ 117022 h 157758"/>
                <a:gd name="connsiteX4" fmla="*/ 28471 w 904773"/>
                <a:gd name="connsiteY4" fmla="*/ 52523 h 157758"/>
                <a:gd name="connsiteX5" fmla="*/ 73716 w 904773"/>
                <a:gd name="connsiteY5" fmla="*/ 136 h 157758"/>
                <a:gd name="connsiteX0" fmla="*/ 900185 w 900185"/>
                <a:gd name="connsiteY0" fmla="*/ 57231 h 158048"/>
                <a:gd name="connsiteX1" fmla="*/ 831277 w 900185"/>
                <a:gd name="connsiteY1" fmla="*/ 124112 h 158048"/>
                <a:gd name="connsiteX2" fmla="*/ 662853 w 900185"/>
                <a:gd name="connsiteY2" fmla="*/ 154863 h 158048"/>
                <a:gd name="connsiteX3" fmla="*/ 124044 w 900185"/>
                <a:gd name="connsiteY3" fmla="*/ 112203 h 158048"/>
                <a:gd name="connsiteX4" fmla="*/ 23883 w 900185"/>
                <a:gd name="connsiteY4" fmla="*/ 52467 h 158048"/>
                <a:gd name="connsiteX5" fmla="*/ 69128 w 900185"/>
                <a:gd name="connsiteY5" fmla="*/ 80 h 158048"/>
                <a:gd name="connsiteX0" fmla="*/ 906549 w 906549"/>
                <a:gd name="connsiteY0" fmla="*/ 57241 h 158058"/>
                <a:gd name="connsiteX1" fmla="*/ 837641 w 906549"/>
                <a:gd name="connsiteY1" fmla="*/ 124122 h 158058"/>
                <a:gd name="connsiteX2" fmla="*/ 669217 w 906549"/>
                <a:gd name="connsiteY2" fmla="*/ 154873 h 158058"/>
                <a:gd name="connsiteX3" fmla="*/ 130408 w 906549"/>
                <a:gd name="connsiteY3" fmla="*/ 112213 h 158058"/>
                <a:gd name="connsiteX4" fmla="*/ 30247 w 906549"/>
                <a:gd name="connsiteY4" fmla="*/ 52477 h 158058"/>
                <a:gd name="connsiteX5" fmla="*/ 75492 w 906549"/>
                <a:gd name="connsiteY5" fmla="*/ 90 h 158058"/>
                <a:gd name="connsiteX0" fmla="*/ 908571 w 908571"/>
                <a:gd name="connsiteY0" fmla="*/ 57248 h 158065"/>
                <a:gd name="connsiteX1" fmla="*/ 839663 w 908571"/>
                <a:gd name="connsiteY1" fmla="*/ 124129 h 158065"/>
                <a:gd name="connsiteX2" fmla="*/ 671239 w 908571"/>
                <a:gd name="connsiteY2" fmla="*/ 154880 h 158065"/>
                <a:gd name="connsiteX3" fmla="*/ 132430 w 908571"/>
                <a:gd name="connsiteY3" fmla="*/ 112220 h 158065"/>
                <a:gd name="connsiteX4" fmla="*/ 32269 w 908571"/>
                <a:gd name="connsiteY4" fmla="*/ 52484 h 158065"/>
                <a:gd name="connsiteX5" fmla="*/ 77514 w 908571"/>
                <a:gd name="connsiteY5" fmla="*/ 97 h 158065"/>
                <a:gd name="connsiteX0" fmla="*/ 896065 w 896065"/>
                <a:gd name="connsiteY0" fmla="*/ 57231 h 158048"/>
                <a:gd name="connsiteX1" fmla="*/ 827157 w 896065"/>
                <a:gd name="connsiteY1" fmla="*/ 124112 h 158048"/>
                <a:gd name="connsiteX2" fmla="*/ 658733 w 896065"/>
                <a:gd name="connsiteY2" fmla="*/ 154863 h 158048"/>
                <a:gd name="connsiteX3" fmla="*/ 127068 w 896065"/>
                <a:gd name="connsiteY3" fmla="*/ 112203 h 158048"/>
                <a:gd name="connsiteX4" fmla="*/ 19763 w 896065"/>
                <a:gd name="connsiteY4" fmla="*/ 52467 h 158048"/>
                <a:gd name="connsiteX5" fmla="*/ 65008 w 896065"/>
                <a:gd name="connsiteY5" fmla="*/ 80 h 158048"/>
                <a:gd name="connsiteX0" fmla="*/ 905146 w 905146"/>
                <a:gd name="connsiteY0" fmla="*/ 57248 h 158065"/>
                <a:gd name="connsiteX1" fmla="*/ 836238 w 905146"/>
                <a:gd name="connsiteY1" fmla="*/ 124129 h 158065"/>
                <a:gd name="connsiteX2" fmla="*/ 667814 w 905146"/>
                <a:gd name="connsiteY2" fmla="*/ 154880 h 158065"/>
                <a:gd name="connsiteX3" fmla="*/ 136149 w 905146"/>
                <a:gd name="connsiteY3" fmla="*/ 112220 h 158065"/>
                <a:gd name="connsiteX4" fmla="*/ 28844 w 905146"/>
                <a:gd name="connsiteY4" fmla="*/ 52484 h 158065"/>
                <a:gd name="connsiteX5" fmla="*/ 74089 w 905146"/>
                <a:gd name="connsiteY5" fmla="*/ 97 h 158065"/>
                <a:gd name="connsiteX0" fmla="*/ 906085 w 906085"/>
                <a:gd name="connsiteY0" fmla="*/ 57248 h 158065"/>
                <a:gd name="connsiteX1" fmla="*/ 837177 w 906085"/>
                <a:gd name="connsiteY1" fmla="*/ 124129 h 158065"/>
                <a:gd name="connsiteX2" fmla="*/ 668753 w 906085"/>
                <a:gd name="connsiteY2" fmla="*/ 154880 h 158065"/>
                <a:gd name="connsiteX3" fmla="*/ 137088 w 906085"/>
                <a:gd name="connsiteY3" fmla="*/ 112220 h 158065"/>
                <a:gd name="connsiteX4" fmla="*/ 29783 w 906085"/>
                <a:gd name="connsiteY4" fmla="*/ 52484 h 158065"/>
                <a:gd name="connsiteX5" fmla="*/ 75028 w 906085"/>
                <a:gd name="connsiteY5" fmla="*/ 97 h 158065"/>
                <a:gd name="connsiteX0" fmla="*/ 894727 w 894727"/>
                <a:gd name="connsiteY0" fmla="*/ 57231 h 158048"/>
                <a:gd name="connsiteX1" fmla="*/ 825819 w 894727"/>
                <a:gd name="connsiteY1" fmla="*/ 124112 h 158048"/>
                <a:gd name="connsiteX2" fmla="*/ 657395 w 894727"/>
                <a:gd name="connsiteY2" fmla="*/ 154863 h 158048"/>
                <a:gd name="connsiteX3" fmla="*/ 128111 w 894727"/>
                <a:gd name="connsiteY3" fmla="*/ 112203 h 158048"/>
                <a:gd name="connsiteX4" fmla="*/ 18425 w 894727"/>
                <a:gd name="connsiteY4" fmla="*/ 52467 h 158048"/>
                <a:gd name="connsiteX5" fmla="*/ 63670 w 894727"/>
                <a:gd name="connsiteY5" fmla="*/ 80 h 158048"/>
                <a:gd name="connsiteX0" fmla="*/ 903081 w 903081"/>
                <a:gd name="connsiteY0" fmla="*/ 57266 h 158083"/>
                <a:gd name="connsiteX1" fmla="*/ 834173 w 903081"/>
                <a:gd name="connsiteY1" fmla="*/ 124147 h 158083"/>
                <a:gd name="connsiteX2" fmla="*/ 665749 w 903081"/>
                <a:gd name="connsiteY2" fmla="*/ 154898 h 158083"/>
                <a:gd name="connsiteX3" fmla="*/ 136465 w 903081"/>
                <a:gd name="connsiteY3" fmla="*/ 112238 h 158083"/>
                <a:gd name="connsiteX4" fmla="*/ 26779 w 903081"/>
                <a:gd name="connsiteY4" fmla="*/ 52502 h 158083"/>
                <a:gd name="connsiteX5" fmla="*/ 72024 w 903081"/>
                <a:gd name="connsiteY5" fmla="*/ 115 h 158083"/>
                <a:gd name="connsiteX0" fmla="*/ 909833 w 909833"/>
                <a:gd name="connsiteY0" fmla="*/ 57222 h 158039"/>
                <a:gd name="connsiteX1" fmla="*/ 840925 w 909833"/>
                <a:gd name="connsiteY1" fmla="*/ 124103 h 158039"/>
                <a:gd name="connsiteX2" fmla="*/ 672501 w 909833"/>
                <a:gd name="connsiteY2" fmla="*/ 154854 h 158039"/>
                <a:gd name="connsiteX3" fmla="*/ 143217 w 909833"/>
                <a:gd name="connsiteY3" fmla="*/ 112194 h 158039"/>
                <a:gd name="connsiteX4" fmla="*/ 21625 w 909833"/>
                <a:gd name="connsiteY4" fmla="*/ 69127 h 158039"/>
                <a:gd name="connsiteX5" fmla="*/ 78776 w 909833"/>
                <a:gd name="connsiteY5" fmla="*/ 71 h 158039"/>
                <a:gd name="connsiteX0" fmla="*/ 908438 w 908438"/>
                <a:gd name="connsiteY0" fmla="*/ 57218 h 158035"/>
                <a:gd name="connsiteX1" fmla="*/ 839530 w 908438"/>
                <a:gd name="connsiteY1" fmla="*/ 124099 h 158035"/>
                <a:gd name="connsiteX2" fmla="*/ 671106 w 908438"/>
                <a:gd name="connsiteY2" fmla="*/ 154850 h 158035"/>
                <a:gd name="connsiteX3" fmla="*/ 141822 w 908438"/>
                <a:gd name="connsiteY3" fmla="*/ 112190 h 158035"/>
                <a:gd name="connsiteX4" fmla="*/ 22611 w 908438"/>
                <a:gd name="connsiteY4" fmla="*/ 71504 h 158035"/>
                <a:gd name="connsiteX5" fmla="*/ 77381 w 908438"/>
                <a:gd name="connsiteY5" fmla="*/ 67 h 158035"/>
                <a:gd name="connsiteX0" fmla="*/ 895500 w 895500"/>
                <a:gd name="connsiteY0" fmla="*/ 57218 h 158035"/>
                <a:gd name="connsiteX1" fmla="*/ 826592 w 895500"/>
                <a:gd name="connsiteY1" fmla="*/ 124099 h 158035"/>
                <a:gd name="connsiteX2" fmla="*/ 658168 w 895500"/>
                <a:gd name="connsiteY2" fmla="*/ 154850 h 158035"/>
                <a:gd name="connsiteX3" fmla="*/ 128884 w 895500"/>
                <a:gd name="connsiteY3" fmla="*/ 112190 h 158035"/>
                <a:gd name="connsiteX4" fmla="*/ 9673 w 895500"/>
                <a:gd name="connsiteY4" fmla="*/ 71504 h 158035"/>
                <a:gd name="connsiteX5" fmla="*/ 64443 w 895500"/>
                <a:gd name="connsiteY5" fmla="*/ 67 h 158035"/>
                <a:gd name="connsiteX0" fmla="*/ 897210 w 897210"/>
                <a:gd name="connsiteY0" fmla="*/ 57218 h 158035"/>
                <a:gd name="connsiteX1" fmla="*/ 828302 w 897210"/>
                <a:gd name="connsiteY1" fmla="*/ 124099 h 158035"/>
                <a:gd name="connsiteX2" fmla="*/ 659878 w 897210"/>
                <a:gd name="connsiteY2" fmla="*/ 154850 h 158035"/>
                <a:gd name="connsiteX3" fmla="*/ 130594 w 897210"/>
                <a:gd name="connsiteY3" fmla="*/ 112190 h 158035"/>
                <a:gd name="connsiteX4" fmla="*/ 11383 w 897210"/>
                <a:gd name="connsiteY4" fmla="*/ 71504 h 158035"/>
                <a:gd name="connsiteX5" fmla="*/ 66153 w 897210"/>
                <a:gd name="connsiteY5" fmla="*/ 67 h 158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7210" h="158035">
                  <a:moveTo>
                    <a:pt x="897210" y="57218"/>
                  </a:moveTo>
                  <a:cubicBezTo>
                    <a:pt x="890488" y="67968"/>
                    <a:pt x="851982" y="97508"/>
                    <a:pt x="828302" y="124099"/>
                  </a:cubicBezTo>
                  <a:cubicBezTo>
                    <a:pt x="766521" y="169741"/>
                    <a:pt x="776163" y="156835"/>
                    <a:pt x="659878" y="154850"/>
                  </a:cubicBezTo>
                  <a:cubicBezTo>
                    <a:pt x="543593" y="152865"/>
                    <a:pt x="306228" y="124029"/>
                    <a:pt x="130594" y="112190"/>
                  </a:cubicBezTo>
                  <a:cubicBezTo>
                    <a:pt x="-37418" y="105048"/>
                    <a:pt x="528" y="90124"/>
                    <a:pt x="11383" y="71504"/>
                  </a:cubicBezTo>
                  <a:cubicBezTo>
                    <a:pt x="29218" y="40911"/>
                    <a:pt x="60596" y="-1916"/>
                    <a:pt x="66153" y="67"/>
                  </a:cubicBezTo>
                </a:path>
              </a:pathLst>
            </a:custGeom>
            <a:noFill/>
            <a:ln w="57150">
              <a:solidFill>
                <a:srgbClr val="4BD65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27" name="Grafik 2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23100" y="4304890"/>
              <a:ext cx="3206733" cy="2137822"/>
            </a:xfrm>
            <a:prstGeom prst="rect">
              <a:avLst/>
            </a:prstGeom>
          </p:spPr>
        </p:pic>
        <p:pic>
          <p:nvPicPr>
            <p:cNvPr id="29" name="Bild 2" descr="PP.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528816" y="4993898"/>
              <a:ext cx="698884" cy="1117093"/>
            </a:xfrm>
            <a:prstGeom prst="rect">
              <a:avLst/>
            </a:prstGeom>
          </p:spPr>
        </p:pic>
        <p:sp>
          <p:nvSpPr>
            <p:cNvPr id="30" name="Freihandform 29"/>
            <p:cNvSpPr/>
            <p:nvPr/>
          </p:nvSpPr>
          <p:spPr>
            <a:xfrm>
              <a:off x="1409531" y="4268356"/>
              <a:ext cx="940614" cy="451752"/>
            </a:xfrm>
            <a:custGeom>
              <a:avLst/>
              <a:gdLst>
                <a:gd name="connsiteX0" fmla="*/ 1733550 w 1733550"/>
                <a:gd name="connsiteY0" fmla="*/ 857250 h 962025"/>
                <a:gd name="connsiteX1" fmla="*/ 1612900 w 1733550"/>
                <a:gd name="connsiteY1" fmla="*/ 962025 h 962025"/>
                <a:gd name="connsiteX2" fmla="*/ 0 w 1733550"/>
                <a:gd name="connsiteY2" fmla="*/ 838200 h 962025"/>
                <a:gd name="connsiteX3" fmla="*/ 666750 w 1733550"/>
                <a:gd name="connsiteY3" fmla="*/ 323850 h 962025"/>
                <a:gd name="connsiteX4" fmla="*/ 666750 w 1733550"/>
                <a:gd name="connsiteY4" fmla="*/ 0 h 962025"/>
                <a:gd name="connsiteX0" fmla="*/ 1756203 w 1756203"/>
                <a:gd name="connsiteY0" fmla="*/ 857250 h 962025"/>
                <a:gd name="connsiteX1" fmla="*/ 1635553 w 1756203"/>
                <a:gd name="connsiteY1" fmla="*/ 962025 h 962025"/>
                <a:gd name="connsiteX2" fmla="*/ 22653 w 1756203"/>
                <a:gd name="connsiteY2" fmla="*/ 838200 h 962025"/>
                <a:gd name="connsiteX3" fmla="*/ 689403 w 1756203"/>
                <a:gd name="connsiteY3" fmla="*/ 323850 h 962025"/>
                <a:gd name="connsiteX4" fmla="*/ 689403 w 1756203"/>
                <a:gd name="connsiteY4" fmla="*/ 0 h 962025"/>
                <a:gd name="connsiteX0" fmla="*/ 1756203 w 1756203"/>
                <a:gd name="connsiteY0" fmla="*/ 857250 h 962025"/>
                <a:gd name="connsiteX1" fmla="*/ 1635553 w 1756203"/>
                <a:gd name="connsiteY1" fmla="*/ 962025 h 962025"/>
                <a:gd name="connsiteX2" fmla="*/ 22653 w 1756203"/>
                <a:gd name="connsiteY2" fmla="*/ 838200 h 962025"/>
                <a:gd name="connsiteX3" fmla="*/ 689403 w 1756203"/>
                <a:gd name="connsiteY3" fmla="*/ 323850 h 962025"/>
                <a:gd name="connsiteX4" fmla="*/ 689403 w 1756203"/>
                <a:gd name="connsiteY4" fmla="*/ 0 h 962025"/>
                <a:gd name="connsiteX0" fmla="*/ 1756203 w 1791674"/>
                <a:gd name="connsiteY0" fmla="*/ 857250 h 962125"/>
                <a:gd name="connsiteX1" fmla="*/ 1635553 w 1791674"/>
                <a:gd name="connsiteY1" fmla="*/ 962025 h 962125"/>
                <a:gd name="connsiteX2" fmla="*/ 22653 w 1791674"/>
                <a:gd name="connsiteY2" fmla="*/ 838200 h 962125"/>
                <a:gd name="connsiteX3" fmla="*/ 689403 w 1791674"/>
                <a:gd name="connsiteY3" fmla="*/ 323850 h 962125"/>
                <a:gd name="connsiteX4" fmla="*/ 689403 w 1791674"/>
                <a:gd name="connsiteY4" fmla="*/ 0 h 962125"/>
                <a:gd name="connsiteX0" fmla="*/ 1758028 w 1793499"/>
                <a:gd name="connsiteY0" fmla="*/ 857250 h 962125"/>
                <a:gd name="connsiteX1" fmla="*/ 1637378 w 1793499"/>
                <a:gd name="connsiteY1" fmla="*/ 962025 h 962125"/>
                <a:gd name="connsiteX2" fmla="*/ 24478 w 1793499"/>
                <a:gd name="connsiteY2" fmla="*/ 838200 h 962125"/>
                <a:gd name="connsiteX3" fmla="*/ 665034 w 1793499"/>
                <a:gd name="connsiteY3" fmla="*/ 352425 h 962125"/>
                <a:gd name="connsiteX4" fmla="*/ 691228 w 1793499"/>
                <a:gd name="connsiteY4" fmla="*/ 0 h 962125"/>
                <a:gd name="connsiteX0" fmla="*/ 1757134 w 1792605"/>
                <a:gd name="connsiteY0" fmla="*/ 857250 h 962125"/>
                <a:gd name="connsiteX1" fmla="*/ 1636484 w 1792605"/>
                <a:gd name="connsiteY1" fmla="*/ 962025 h 962125"/>
                <a:gd name="connsiteX2" fmla="*/ 23584 w 1792605"/>
                <a:gd name="connsiteY2" fmla="*/ 838200 h 962125"/>
                <a:gd name="connsiteX3" fmla="*/ 664140 w 1792605"/>
                <a:gd name="connsiteY3" fmla="*/ 352425 h 962125"/>
                <a:gd name="connsiteX4" fmla="*/ 690334 w 1792605"/>
                <a:gd name="connsiteY4" fmla="*/ 0 h 962125"/>
                <a:gd name="connsiteX0" fmla="*/ 1756629 w 1792100"/>
                <a:gd name="connsiteY0" fmla="*/ 857250 h 962125"/>
                <a:gd name="connsiteX1" fmla="*/ 1635979 w 1792100"/>
                <a:gd name="connsiteY1" fmla="*/ 962025 h 962125"/>
                <a:gd name="connsiteX2" fmla="*/ 23079 w 1792100"/>
                <a:gd name="connsiteY2" fmla="*/ 838200 h 962125"/>
                <a:gd name="connsiteX3" fmla="*/ 663635 w 1792100"/>
                <a:gd name="connsiteY3" fmla="*/ 352425 h 962125"/>
                <a:gd name="connsiteX4" fmla="*/ 689829 w 1792100"/>
                <a:gd name="connsiteY4" fmla="*/ 0 h 962125"/>
                <a:gd name="connsiteX0" fmla="*/ 1757796 w 1793267"/>
                <a:gd name="connsiteY0" fmla="*/ 857250 h 962125"/>
                <a:gd name="connsiteX1" fmla="*/ 1637146 w 1793267"/>
                <a:gd name="connsiteY1" fmla="*/ 962025 h 962125"/>
                <a:gd name="connsiteX2" fmla="*/ 24246 w 1793267"/>
                <a:gd name="connsiteY2" fmla="*/ 838200 h 962125"/>
                <a:gd name="connsiteX3" fmla="*/ 664802 w 1793267"/>
                <a:gd name="connsiteY3" fmla="*/ 352425 h 962125"/>
                <a:gd name="connsiteX4" fmla="*/ 690996 w 1793267"/>
                <a:gd name="connsiteY4" fmla="*/ 0 h 962125"/>
                <a:gd name="connsiteX0" fmla="*/ 1759182 w 1794653"/>
                <a:gd name="connsiteY0" fmla="*/ 857250 h 962125"/>
                <a:gd name="connsiteX1" fmla="*/ 1638532 w 1794653"/>
                <a:gd name="connsiteY1" fmla="*/ 962025 h 962125"/>
                <a:gd name="connsiteX2" fmla="*/ 25632 w 1794653"/>
                <a:gd name="connsiteY2" fmla="*/ 838200 h 962125"/>
                <a:gd name="connsiteX3" fmla="*/ 647138 w 1794653"/>
                <a:gd name="connsiteY3" fmla="*/ 366712 h 962125"/>
                <a:gd name="connsiteX4" fmla="*/ 692382 w 1794653"/>
                <a:gd name="connsiteY4" fmla="*/ 0 h 962125"/>
                <a:gd name="connsiteX0" fmla="*/ 1758482 w 1793953"/>
                <a:gd name="connsiteY0" fmla="*/ 857250 h 962125"/>
                <a:gd name="connsiteX1" fmla="*/ 1637832 w 1793953"/>
                <a:gd name="connsiteY1" fmla="*/ 962025 h 962125"/>
                <a:gd name="connsiteX2" fmla="*/ 24932 w 1793953"/>
                <a:gd name="connsiteY2" fmla="*/ 838200 h 962125"/>
                <a:gd name="connsiteX3" fmla="*/ 655963 w 1793953"/>
                <a:gd name="connsiteY3" fmla="*/ 359568 h 962125"/>
                <a:gd name="connsiteX4" fmla="*/ 691682 w 1793953"/>
                <a:gd name="connsiteY4" fmla="*/ 0 h 962125"/>
                <a:gd name="connsiteX0" fmla="*/ 1758414 w 1793885"/>
                <a:gd name="connsiteY0" fmla="*/ 857250 h 962125"/>
                <a:gd name="connsiteX1" fmla="*/ 1637764 w 1793885"/>
                <a:gd name="connsiteY1" fmla="*/ 962025 h 962125"/>
                <a:gd name="connsiteX2" fmla="*/ 24864 w 1793885"/>
                <a:gd name="connsiteY2" fmla="*/ 838200 h 962125"/>
                <a:gd name="connsiteX3" fmla="*/ 655895 w 1793885"/>
                <a:gd name="connsiteY3" fmla="*/ 359568 h 962125"/>
                <a:gd name="connsiteX4" fmla="*/ 691614 w 1793885"/>
                <a:gd name="connsiteY4" fmla="*/ 0 h 962125"/>
                <a:gd name="connsiteX0" fmla="*/ 1758760 w 1794231"/>
                <a:gd name="connsiteY0" fmla="*/ 857250 h 962125"/>
                <a:gd name="connsiteX1" fmla="*/ 1638110 w 1794231"/>
                <a:gd name="connsiteY1" fmla="*/ 962025 h 962125"/>
                <a:gd name="connsiteX2" fmla="*/ 25210 w 1794231"/>
                <a:gd name="connsiteY2" fmla="*/ 838200 h 962125"/>
                <a:gd name="connsiteX3" fmla="*/ 651478 w 1794231"/>
                <a:gd name="connsiteY3" fmla="*/ 359568 h 962125"/>
                <a:gd name="connsiteX4" fmla="*/ 691960 w 1794231"/>
                <a:gd name="connsiteY4" fmla="*/ 0 h 962125"/>
                <a:gd name="connsiteX0" fmla="*/ 1759941 w 1795412"/>
                <a:gd name="connsiteY0" fmla="*/ 857250 h 962125"/>
                <a:gd name="connsiteX1" fmla="*/ 1639291 w 1795412"/>
                <a:gd name="connsiteY1" fmla="*/ 962025 h 962125"/>
                <a:gd name="connsiteX2" fmla="*/ 26391 w 1795412"/>
                <a:gd name="connsiteY2" fmla="*/ 838200 h 962125"/>
                <a:gd name="connsiteX3" fmla="*/ 652659 w 1795412"/>
                <a:gd name="connsiteY3" fmla="*/ 359568 h 962125"/>
                <a:gd name="connsiteX4" fmla="*/ 693141 w 1795412"/>
                <a:gd name="connsiteY4" fmla="*/ 0 h 962125"/>
                <a:gd name="connsiteX0" fmla="*/ 1759941 w 1795412"/>
                <a:gd name="connsiteY0" fmla="*/ 857250 h 962125"/>
                <a:gd name="connsiteX1" fmla="*/ 1639291 w 1795412"/>
                <a:gd name="connsiteY1" fmla="*/ 962025 h 962125"/>
                <a:gd name="connsiteX2" fmla="*/ 26391 w 1795412"/>
                <a:gd name="connsiteY2" fmla="*/ 838200 h 962125"/>
                <a:gd name="connsiteX3" fmla="*/ 652659 w 1795412"/>
                <a:gd name="connsiteY3" fmla="*/ 359568 h 962125"/>
                <a:gd name="connsiteX4" fmla="*/ 693141 w 1795412"/>
                <a:gd name="connsiteY4" fmla="*/ 0 h 962125"/>
                <a:gd name="connsiteX0" fmla="*/ 1759554 w 1795025"/>
                <a:gd name="connsiteY0" fmla="*/ 857250 h 962125"/>
                <a:gd name="connsiteX1" fmla="*/ 1638904 w 1795025"/>
                <a:gd name="connsiteY1" fmla="*/ 962025 h 962125"/>
                <a:gd name="connsiteX2" fmla="*/ 26004 w 1795025"/>
                <a:gd name="connsiteY2" fmla="*/ 838200 h 962125"/>
                <a:gd name="connsiteX3" fmla="*/ 652272 w 1795025"/>
                <a:gd name="connsiteY3" fmla="*/ 359568 h 962125"/>
                <a:gd name="connsiteX4" fmla="*/ 692754 w 1795025"/>
                <a:gd name="connsiteY4" fmla="*/ 0 h 962125"/>
                <a:gd name="connsiteX0" fmla="*/ 1696629 w 1727609"/>
                <a:gd name="connsiteY0" fmla="*/ 857250 h 962278"/>
                <a:gd name="connsiteX1" fmla="*/ 1575979 w 1727609"/>
                <a:gd name="connsiteY1" fmla="*/ 962025 h 962278"/>
                <a:gd name="connsiteX2" fmla="*/ 27373 w 1727609"/>
                <a:gd name="connsiteY2" fmla="*/ 826294 h 962278"/>
                <a:gd name="connsiteX3" fmla="*/ 589347 w 1727609"/>
                <a:gd name="connsiteY3" fmla="*/ 359568 h 962278"/>
                <a:gd name="connsiteX4" fmla="*/ 629829 w 1727609"/>
                <a:gd name="connsiteY4" fmla="*/ 0 h 962278"/>
                <a:gd name="connsiteX0" fmla="*/ 1704087 w 1735067"/>
                <a:gd name="connsiteY0" fmla="*/ 857250 h 962278"/>
                <a:gd name="connsiteX1" fmla="*/ 1583437 w 1735067"/>
                <a:gd name="connsiteY1" fmla="*/ 962025 h 962278"/>
                <a:gd name="connsiteX2" fmla="*/ 34831 w 1735067"/>
                <a:gd name="connsiteY2" fmla="*/ 826294 h 962278"/>
                <a:gd name="connsiteX3" fmla="*/ 596805 w 1735067"/>
                <a:gd name="connsiteY3" fmla="*/ 359568 h 962278"/>
                <a:gd name="connsiteX4" fmla="*/ 637287 w 1735067"/>
                <a:gd name="connsiteY4" fmla="*/ 0 h 962278"/>
                <a:gd name="connsiteX0" fmla="*/ 1685946 w 1716926"/>
                <a:gd name="connsiteY0" fmla="*/ 857250 h 962278"/>
                <a:gd name="connsiteX1" fmla="*/ 1565296 w 1716926"/>
                <a:gd name="connsiteY1" fmla="*/ 962025 h 962278"/>
                <a:gd name="connsiteX2" fmla="*/ 16690 w 1716926"/>
                <a:gd name="connsiteY2" fmla="*/ 826294 h 962278"/>
                <a:gd name="connsiteX3" fmla="*/ 578664 w 1716926"/>
                <a:gd name="connsiteY3" fmla="*/ 359568 h 962278"/>
                <a:gd name="connsiteX4" fmla="*/ 619146 w 1716926"/>
                <a:gd name="connsiteY4" fmla="*/ 0 h 962278"/>
                <a:gd name="connsiteX0" fmla="*/ 1716282 w 1749421"/>
                <a:gd name="connsiteY0" fmla="*/ 857250 h 962065"/>
                <a:gd name="connsiteX1" fmla="*/ 1595632 w 1749421"/>
                <a:gd name="connsiteY1" fmla="*/ 962025 h 962065"/>
                <a:gd name="connsiteX2" fmla="*/ 16070 w 1749421"/>
                <a:gd name="connsiteY2" fmla="*/ 845344 h 962065"/>
                <a:gd name="connsiteX3" fmla="*/ 609000 w 1749421"/>
                <a:gd name="connsiteY3" fmla="*/ 359568 h 962065"/>
                <a:gd name="connsiteX4" fmla="*/ 649482 w 1749421"/>
                <a:gd name="connsiteY4" fmla="*/ 0 h 962065"/>
                <a:gd name="connsiteX0" fmla="*/ 1716716 w 1749855"/>
                <a:gd name="connsiteY0" fmla="*/ 857250 h 962065"/>
                <a:gd name="connsiteX1" fmla="*/ 1596066 w 1749855"/>
                <a:gd name="connsiteY1" fmla="*/ 962025 h 962065"/>
                <a:gd name="connsiteX2" fmla="*/ 16504 w 1749855"/>
                <a:gd name="connsiteY2" fmla="*/ 845344 h 962065"/>
                <a:gd name="connsiteX3" fmla="*/ 609434 w 1749855"/>
                <a:gd name="connsiteY3" fmla="*/ 359568 h 962065"/>
                <a:gd name="connsiteX4" fmla="*/ 649916 w 1749855"/>
                <a:gd name="connsiteY4" fmla="*/ 0 h 962065"/>
                <a:gd name="connsiteX0" fmla="*/ 1716443 w 1749582"/>
                <a:gd name="connsiteY0" fmla="*/ 857250 h 962065"/>
                <a:gd name="connsiteX1" fmla="*/ 1595793 w 1749582"/>
                <a:gd name="connsiteY1" fmla="*/ 962025 h 962065"/>
                <a:gd name="connsiteX2" fmla="*/ 16231 w 1749582"/>
                <a:gd name="connsiteY2" fmla="*/ 845344 h 962065"/>
                <a:gd name="connsiteX3" fmla="*/ 609161 w 1749582"/>
                <a:gd name="connsiteY3" fmla="*/ 359568 h 962065"/>
                <a:gd name="connsiteX4" fmla="*/ 649643 w 1749582"/>
                <a:gd name="connsiteY4" fmla="*/ 0 h 962065"/>
                <a:gd name="connsiteX0" fmla="*/ 1702509 w 1735648"/>
                <a:gd name="connsiteY0" fmla="*/ 857250 h 962065"/>
                <a:gd name="connsiteX1" fmla="*/ 1581859 w 1735648"/>
                <a:gd name="connsiteY1" fmla="*/ 962025 h 962065"/>
                <a:gd name="connsiteX2" fmla="*/ 2297 w 1735648"/>
                <a:gd name="connsiteY2" fmla="*/ 845344 h 962065"/>
                <a:gd name="connsiteX3" fmla="*/ 595227 w 1735648"/>
                <a:gd name="connsiteY3" fmla="*/ 359568 h 962065"/>
                <a:gd name="connsiteX4" fmla="*/ 635709 w 1735648"/>
                <a:gd name="connsiteY4" fmla="*/ 0 h 962065"/>
                <a:gd name="connsiteX0" fmla="*/ 1702509 w 1735648"/>
                <a:gd name="connsiteY0" fmla="*/ 857250 h 962065"/>
                <a:gd name="connsiteX1" fmla="*/ 1581859 w 1735648"/>
                <a:gd name="connsiteY1" fmla="*/ 962025 h 962065"/>
                <a:gd name="connsiteX2" fmla="*/ 2297 w 1735648"/>
                <a:gd name="connsiteY2" fmla="*/ 845344 h 962065"/>
                <a:gd name="connsiteX3" fmla="*/ 595227 w 1735648"/>
                <a:gd name="connsiteY3" fmla="*/ 359568 h 962065"/>
                <a:gd name="connsiteX4" fmla="*/ 635709 w 1735648"/>
                <a:gd name="connsiteY4" fmla="*/ 0 h 962065"/>
                <a:gd name="connsiteX0" fmla="*/ 1681171 w 1712815"/>
                <a:gd name="connsiteY0" fmla="*/ 857250 h 962209"/>
                <a:gd name="connsiteX1" fmla="*/ 1560521 w 1712815"/>
                <a:gd name="connsiteY1" fmla="*/ 962025 h 962209"/>
                <a:gd name="connsiteX2" fmla="*/ 2390 w 1712815"/>
                <a:gd name="connsiteY2" fmla="*/ 831056 h 962209"/>
                <a:gd name="connsiteX3" fmla="*/ 573889 w 1712815"/>
                <a:gd name="connsiteY3" fmla="*/ 359568 h 962209"/>
                <a:gd name="connsiteX4" fmla="*/ 614371 w 1712815"/>
                <a:gd name="connsiteY4" fmla="*/ 0 h 962209"/>
                <a:gd name="connsiteX0" fmla="*/ 1681171 w 1712815"/>
                <a:gd name="connsiteY0" fmla="*/ 857250 h 962209"/>
                <a:gd name="connsiteX1" fmla="*/ 1560521 w 1712815"/>
                <a:gd name="connsiteY1" fmla="*/ 962025 h 962209"/>
                <a:gd name="connsiteX2" fmla="*/ 2390 w 1712815"/>
                <a:gd name="connsiteY2" fmla="*/ 831056 h 962209"/>
                <a:gd name="connsiteX3" fmla="*/ 573889 w 1712815"/>
                <a:gd name="connsiteY3" fmla="*/ 359568 h 962209"/>
                <a:gd name="connsiteX4" fmla="*/ 614371 w 1712815"/>
                <a:gd name="connsiteY4" fmla="*/ 0 h 962209"/>
                <a:gd name="connsiteX0" fmla="*/ 1681235 w 1712879"/>
                <a:gd name="connsiteY0" fmla="*/ 857250 h 962209"/>
                <a:gd name="connsiteX1" fmla="*/ 1560585 w 1712879"/>
                <a:gd name="connsiteY1" fmla="*/ 962025 h 962209"/>
                <a:gd name="connsiteX2" fmla="*/ 2454 w 1712879"/>
                <a:gd name="connsiteY2" fmla="*/ 831056 h 962209"/>
                <a:gd name="connsiteX3" fmla="*/ 573953 w 1712879"/>
                <a:gd name="connsiteY3" fmla="*/ 359568 h 962209"/>
                <a:gd name="connsiteX4" fmla="*/ 614435 w 1712879"/>
                <a:gd name="connsiteY4" fmla="*/ 0 h 962209"/>
                <a:gd name="connsiteX0" fmla="*/ 1678781 w 1710425"/>
                <a:gd name="connsiteY0" fmla="*/ 857250 h 962209"/>
                <a:gd name="connsiteX1" fmla="*/ 1558131 w 1710425"/>
                <a:gd name="connsiteY1" fmla="*/ 962025 h 962209"/>
                <a:gd name="connsiteX2" fmla="*/ 0 w 1710425"/>
                <a:gd name="connsiteY2" fmla="*/ 831056 h 962209"/>
                <a:gd name="connsiteX3" fmla="*/ 571499 w 1710425"/>
                <a:gd name="connsiteY3" fmla="*/ 359568 h 962209"/>
                <a:gd name="connsiteX4" fmla="*/ 611981 w 1710425"/>
                <a:gd name="connsiteY4" fmla="*/ 0 h 962209"/>
                <a:gd name="connsiteX0" fmla="*/ 1678781 w 1710425"/>
                <a:gd name="connsiteY0" fmla="*/ 857250 h 962209"/>
                <a:gd name="connsiteX1" fmla="*/ 1558131 w 1710425"/>
                <a:gd name="connsiteY1" fmla="*/ 962025 h 962209"/>
                <a:gd name="connsiteX2" fmla="*/ 0 w 1710425"/>
                <a:gd name="connsiteY2" fmla="*/ 831056 h 962209"/>
                <a:gd name="connsiteX3" fmla="*/ 571499 w 1710425"/>
                <a:gd name="connsiteY3" fmla="*/ 359568 h 962209"/>
                <a:gd name="connsiteX4" fmla="*/ 611981 w 1710425"/>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695450 w 1728256"/>
                <a:gd name="connsiteY0" fmla="*/ 857250 h 962278"/>
                <a:gd name="connsiteX1" fmla="*/ 1574800 w 1728256"/>
                <a:gd name="connsiteY1" fmla="*/ 962025 h 962278"/>
                <a:gd name="connsiteX2" fmla="*/ 0 w 1728256"/>
                <a:gd name="connsiteY2" fmla="*/ 826293 h 962278"/>
                <a:gd name="connsiteX3" fmla="*/ 588168 w 1728256"/>
                <a:gd name="connsiteY3" fmla="*/ 359568 h 962278"/>
                <a:gd name="connsiteX4" fmla="*/ 628650 w 1728256"/>
                <a:gd name="connsiteY4" fmla="*/ 0 h 962278"/>
                <a:gd name="connsiteX0" fmla="*/ 1696407 w 1729213"/>
                <a:gd name="connsiteY0" fmla="*/ 857250 h 962278"/>
                <a:gd name="connsiteX1" fmla="*/ 1575757 w 1729213"/>
                <a:gd name="connsiteY1" fmla="*/ 962025 h 962278"/>
                <a:gd name="connsiteX2" fmla="*/ 957 w 1729213"/>
                <a:gd name="connsiteY2" fmla="*/ 826293 h 962278"/>
                <a:gd name="connsiteX3" fmla="*/ 589125 w 1729213"/>
                <a:gd name="connsiteY3" fmla="*/ 359568 h 962278"/>
                <a:gd name="connsiteX4" fmla="*/ 629607 w 1729213"/>
                <a:gd name="connsiteY4" fmla="*/ 0 h 962278"/>
                <a:gd name="connsiteX0" fmla="*/ 1715446 w 1749584"/>
                <a:gd name="connsiteY0" fmla="*/ 857250 h 962178"/>
                <a:gd name="connsiteX1" fmla="*/ 1594796 w 1749584"/>
                <a:gd name="connsiteY1" fmla="*/ 962025 h 962178"/>
                <a:gd name="connsiteX2" fmla="*/ 946 w 1749584"/>
                <a:gd name="connsiteY2" fmla="*/ 833436 h 962178"/>
                <a:gd name="connsiteX3" fmla="*/ 608164 w 1749584"/>
                <a:gd name="connsiteY3" fmla="*/ 359568 h 962178"/>
                <a:gd name="connsiteX4" fmla="*/ 648646 w 1749584"/>
                <a:gd name="connsiteY4" fmla="*/ 0 h 962178"/>
                <a:gd name="connsiteX0" fmla="*/ 1737332 w 1754060"/>
                <a:gd name="connsiteY0" fmla="*/ 857250 h 962031"/>
                <a:gd name="connsiteX1" fmla="*/ 1616682 w 1754060"/>
                <a:gd name="connsiteY1" fmla="*/ 962025 h 962031"/>
                <a:gd name="connsiteX2" fmla="*/ 275392 w 1754060"/>
                <a:gd name="connsiteY2" fmla="*/ 862217 h 962031"/>
                <a:gd name="connsiteX3" fmla="*/ 22832 w 1754060"/>
                <a:gd name="connsiteY3" fmla="*/ 833436 h 962031"/>
                <a:gd name="connsiteX4" fmla="*/ 630050 w 1754060"/>
                <a:gd name="connsiteY4" fmla="*/ 359568 h 962031"/>
                <a:gd name="connsiteX5" fmla="*/ 670532 w 1754060"/>
                <a:gd name="connsiteY5" fmla="*/ 0 h 962031"/>
                <a:gd name="connsiteX0" fmla="*/ 1730806 w 1747534"/>
                <a:gd name="connsiteY0" fmla="*/ 857250 h 962031"/>
                <a:gd name="connsiteX1" fmla="*/ 1610156 w 1747534"/>
                <a:gd name="connsiteY1" fmla="*/ 962025 h 962031"/>
                <a:gd name="connsiteX2" fmla="*/ 268866 w 1747534"/>
                <a:gd name="connsiteY2" fmla="*/ 862217 h 962031"/>
                <a:gd name="connsiteX3" fmla="*/ 16306 w 1747534"/>
                <a:gd name="connsiteY3" fmla="*/ 833436 h 962031"/>
                <a:gd name="connsiteX4" fmla="*/ 623524 w 1747534"/>
                <a:gd name="connsiteY4" fmla="*/ 359568 h 962031"/>
                <a:gd name="connsiteX5" fmla="*/ 664006 w 1747534"/>
                <a:gd name="connsiteY5" fmla="*/ 0 h 962031"/>
                <a:gd name="connsiteX0" fmla="*/ 1676823 w 1693551"/>
                <a:gd name="connsiteY0" fmla="*/ 857250 h 962031"/>
                <a:gd name="connsiteX1" fmla="*/ 1556173 w 1693551"/>
                <a:gd name="connsiteY1" fmla="*/ 962025 h 962031"/>
                <a:gd name="connsiteX2" fmla="*/ 214883 w 1693551"/>
                <a:gd name="connsiteY2" fmla="*/ 862217 h 962031"/>
                <a:gd name="connsiteX3" fmla="*/ 24235 w 1693551"/>
                <a:gd name="connsiteY3" fmla="*/ 781049 h 962031"/>
                <a:gd name="connsiteX4" fmla="*/ 569541 w 1693551"/>
                <a:gd name="connsiteY4" fmla="*/ 359568 h 962031"/>
                <a:gd name="connsiteX5" fmla="*/ 610023 w 1693551"/>
                <a:gd name="connsiteY5"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8445 w 1701973"/>
                <a:gd name="connsiteY5"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20975 w 1701973"/>
                <a:gd name="connsiteY5" fmla="*/ 164512 h 962031"/>
                <a:gd name="connsiteX6" fmla="*/ 618445 w 1701973"/>
                <a:gd name="connsiteY6" fmla="*/ 0 h 962031"/>
                <a:gd name="connsiteX0" fmla="*/ 1685245 w 1685245"/>
                <a:gd name="connsiteY0" fmla="*/ 857250 h 959650"/>
                <a:gd name="connsiteX1" fmla="*/ 1457439 w 1685245"/>
                <a:gd name="connsiteY1" fmla="*/ 959644 h 959650"/>
                <a:gd name="connsiteX2" fmla="*/ 223305 w 1685245"/>
                <a:gd name="connsiteY2" fmla="*/ 862217 h 959650"/>
                <a:gd name="connsiteX3" fmla="*/ 32657 w 1685245"/>
                <a:gd name="connsiteY3" fmla="*/ 781049 h 959650"/>
                <a:gd name="connsiteX4" fmla="*/ 577963 w 1685245"/>
                <a:gd name="connsiteY4" fmla="*/ 359568 h 959650"/>
                <a:gd name="connsiteX5" fmla="*/ 620975 w 1685245"/>
                <a:gd name="connsiteY5" fmla="*/ 164512 h 959650"/>
                <a:gd name="connsiteX6" fmla="*/ 618445 w 1685245"/>
                <a:gd name="connsiteY6" fmla="*/ 0 h 959650"/>
                <a:gd name="connsiteX0" fmla="*/ 1685245 w 1685245"/>
                <a:gd name="connsiteY0" fmla="*/ 857250 h 961822"/>
                <a:gd name="connsiteX1" fmla="*/ 1616337 w 1685245"/>
                <a:gd name="connsiteY1" fmla="*/ 924131 h 961822"/>
                <a:gd name="connsiteX2" fmla="*/ 1457439 w 1685245"/>
                <a:gd name="connsiteY2" fmla="*/ 959644 h 961822"/>
                <a:gd name="connsiteX3" fmla="*/ 223305 w 1685245"/>
                <a:gd name="connsiteY3" fmla="*/ 862217 h 961822"/>
                <a:gd name="connsiteX4" fmla="*/ 32657 w 1685245"/>
                <a:gd name="connsiteY4" fmla="*/ 781049 h 961822"/>
                <a:gd name="connsiteX5" fmla="*/ 577963 w 1685245"/>
                <a:gd name="connsiteY5" fmla="*/ 359568 h 961822"/>
                <a:gd name="connsiteX6" fmla="*/ 620975 w 1685245"/>
                <a:gd name="connsiteY6" fmla="*/ 164512 h 961822"/>
                <a:gd name="connsiteX7" fmla="*/ 618445 w 1685245"/>
                <a:gd name="connsiteY7" fmla="*/ 0 h 961822"/>
                <a:gd name="connsiteX0" fmla="*/ 1685245 w 1685245"/>
                <a:gd name="connsiteY0" fmla="*/ 857250 h 953018"/>
                <a:gd name="connsiteX1" fmla="*/ 1616337 w 1685245"/>
                <a:gd name="connsiteY1" fmla="*/ 924131 h 953018"/>
                <a:gd name="connsiteX2" fmla="*/ 1414576 w 1685245"/>
                <a:gd name="connsiteY2" fmla="*/ 950119 h 953018"/>
                <a:gd name="connsiteX3" fmla="*/ 223305 w 1685245"/>
                <a:gd name="connsiteY3" fmla="*/ 862217 h 953018"/>
                <a:gd name="connsiteX4" fmla="*/ 32657 w 1685245"/>
                <a:gd name="connsiteY4" fmla="*/ 781049 h 953018"/>
                <a:gd name="connsiteX5" fmla="*/ 577963 w 1685245"/>
                <a:gd name="connsiteY5" fmla="*/ 359568 h 953018"/>
                <a:gd name="connsiteX6" fmla="*/ 620975 w 1685245"/>
                <a:gd name="connsiteY6" fmla="*/ 164512 h 953018"/>
                <a:gd name="connsiteX7" fmla="*/ 618445 w 1685245"/>
                <a:gd name="connsiteY7" fmla="*/ 0 h 953018"/>
                <a:gd name="connsiteX0" fmla="*/ 1685245 w 1685245"/>
                <a:gd name="connsiteY0" fmla="*/ 857250 h 956840"/>
                <a:gd name="connsiteX1" fmla="*/ 1616337 w 1685245"/>
                <a:gd name="connsiteY1" fmla="*/ 924131 h 956840"/>
                <a:gd name="connsiteX2" fmla="*/ 1414576 w 1685245"/>
                <a:gd name="connsiteY2" fmla="*/ 950119 h 956840"/>
                <a:gd name="connsiteX3" fmla="*/ 223305 w 1685245"/>
                <a:gd name="connsiteY3" fmla="*/ 862217 h 956840"/>
                <a:gd name="connsiteX4" fmla="*/ 32657 w 1685245"/>
                <a:gd name="connsiteY4" fmla="*/ 781049 h 956840"/>
                <a:gd name="connsiteX5" fmla="*/ 577963 w 1685245"/>
                <a:gd name="connsiteY5" fmla="*/ 359568 h 956840"/>
                <a:gd name="connsiteX6" fmla="*/ 620975 w 1685245"/>
                <a:gd name="connsiteY6" fmla="*/ 164512 h 956840"/>
                <a:gd name="connsiteX7" fmla="*/ 618445 w 1685245"/>
                <a:gd name="connsiteY7" fmla="*/ 0 h 956840"/>
                <a:gd name="connsiteX0" fmla="*/ 1685245 w 1685245"/>
                <a:gd name="connsiteY0" fmla="*/ 857250 h 958892"/>
                <a:gd name="connsiteX1" fmla="*/ 1616337 w 1685245"/>
                <a:gd name="connsiteY1" fmla="*/ 924131 h 958892"/>
                <a:gd name="connsiteX2" fmla="*/ 14193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4193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18594 w 1685245"/>
                <a:gd name="connsiteY6" fmla="*/ 178799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18445 w 1685245"/>
                <a:gd name="connsiteY6" fmla="*/ 0 h 958892"/>
                <a:gd name="connsiteX0" fmla="*/ 1685245 w 1685245"/>
                <a:gd name="connsiteY0" fmla="*/ 497682 h 599324"/>
                <a:gd name="connsiteX1" fmla="*/ 1616337 w 1685245"/>
                <a:gd name="connsiteY1" fmla="*/ 564563 h 599324"/>
                <a:gd name="connsiteX2" fmla="*/ 1381238 w 1685245"/>
                <a:gd name="connsiteY2" fmla="*/ 592932 h 599324"/>
                <a:gd name="connsiteX3" fmla="*/ 223305 w 1685245"/>
                <a:gd name="connsiteY3" fmla="*/ 502649 h 599324"/>
                <a:gd name="connsiteX4" fmla="*/ 32657 w 1685245"/>
                <a:gd name="connsiteY4" fmla="*/ 421481 h 599324"/>
                <a:gd name="connsiteX5" fmla="*/ 577963 w 1685245"/>
                <a:gd name="connsiteY5" fmla="*/ 0 h 599324"/>
                <a:gd name="connsiteX0" fmla="*/ 1660892 w 1660892"/>
                <a:gd name="connsiteY0" fmla="*/ 497682 h 592932"/>
                <a:gd name="connsiteX1" fmla="*/ 1591984 w 1660892"/>
                <a:gd name="connsiteY1" fmla="*/ 564563 h 592932"/>
                <a:gd name="connsiteX2" fmla="*/ 1356885 w 1660892"/>
                <a:gd name="connsiteY2" fmla="*/ 592932 h 592932"/>
                <a:gd name="connsiteX3" fmla="*/ 1020483 w 1660892"/>
                <a:gd name="connsiteY3" fmla="*/ 564561 h 592932"/>
                <a:gd name="connsiteX4" fmla="*/ 8304 w 1660892"/>
                <a:gd name="connsiteY4" fmla="*/ 421481 h 592932"/>
                <a:gd name="connsiteX5" fmla="*/ 553610 w 1660892"/>
                <a:gd name="connsiteY5" fmla="*/ 0 h 592932"/>
                <a:gd name="connsiteX0" fmla="*/ 1143582 w 1143582"/>
                <a:gd name="connsiteY0" fmla="*/ 497682 h 592932"/>
                <a:gd name="connsiteX1" fmla="*/ 1074674 w 1143582"/>
                <a:gd name="connsiteY1" fmla="*/ 564563 h 592932"/>
                <a:gd name="connsiteX2" fmla="*/ 839575 w 1143582"/>
                <a:gd name="connsiteY2" fmla="*/ 592932 h 592932"/>
                <a:gd name="connsiteX3" fmla="*/ 503173 w 1143582"/>
                <a:gd name="connsiteY3" fmla="*/ 564561 h 592932"/>
                <a:gd name="connsiteX4" fmla="*/ 245850 w 1143582"/>
                <a:gd name="connsiteY4" fmla="*/ 483394 h 592932"/>
                <a:gd name="connsiteX5" fmla="*/ 36300 w 1143582"/>
                <a:gd name="connsiteY5" fmla="*/ 0 h 592932"/>
                <a:gd name="connsiteX0" fmla="*/ 927557 w 927557"/>
                <a:gd name="connsiteY0" fmla="*/ 59532 h 154782"/>
                <a:gd name="connsiteX1" fmla="*/ 858649 w 927557"/>
                <a:gd name="connsiteY1" fmla="*/ 126413 h 154782"/>
                <a:gd name="connsiteX2" fmla="*/ 623550 w 927557"/>
                <a:gd name="connsiteY2" fmla="*/ 154782 h 154782"/>
                <a:gd name="connsiteX3" fmla="*/ 287148 w 927557"/>
                <a:gd name="connsiteY3" fmla="*/ 126411 h 154782"/>
                <a:gd name="connsiteX4" fmla="*/ 29825 w 927557"/>
                <a:gd name="connsiteY4" fmla="*/ 45244 h 154782"/>
                <a:gd name="connsiteX5" fmla="*/ 94119 w 927557"/>
                <a:gd name="connsiteY5" fmla="*/ 0 h 154782"/>
                <a:gd name="connsiteX0" fmla="*/ 927557 w 927557"/>
                <a:gd name="connsiteY0" fmla="*/ 59532 h 154782"/>
                <a:gd name="connsiteX1" fmla="*/ 858649 w 927557"/>
                <a:gd name="connsiteY1" fmla="*/ 126413 h 154782"/>
                <a:gd name="connsiteX2" fmla="*/ 623550 w 927557"/>
                <a:gd name="connsiteY2" fmla="*/ 154782 h 154782"/>
                <a:gd name="connsiteX3" fmla="*/ 287148 w 927557"/>
                <a:gd name="connsiteY3" fmla="*/ 126411 h 154782"/>
                <a:gd name="connsiteX4" fmla="*/ 29825 w 927557"/>
                <a:gd name="connsiteY4" fmla="*/ 45244 h 154782"/>
                <a:gd name="connsiteX5" fmla="*/ 94119 w 927557"/>
                <a:gd name="connsiteY5" fmla="*/ 0 h 154782"/>
                <a:gd name="connsiteX0" fmla="*/ 928869 w 928869"/>
                <a:gd name="connsiteY0" fmla="*/ 59532 h 154782"/>
                <a:gd name="connsiteX1" fmla="*/ 859961 w 928869"/>
                <a:gd name="connsiteY1" fmla="*/ 126413 h 154782"/>
                <a:gd name="connsiteX2" fmla="*/ 624862 w 928869"/>
                <a:gd name="connsiteY2" fmla="*/ 154782 h 154782"/>
                <a:gd name="connsiteX3" fmla="*/ 288460 w 928869"/>
                <a:gd name="connsiteY3" fmla="*/ 126411 h 154782"/>
                <a:gd name="connsiteX4" fmla="*/ 31137 w 928869"/>
                <a:gd name="connsiteY4" fmla="*/ 45244 h 154782"/>
                <a:gd name="connsiteX5" fmla="*/ 95431 w 928869"/>
                <a:gd name="connsiteY5" fmla="*/ 0 h 154782"/>
                <a:gd name="connsiteX0" fmla="*/ 928869 w 928869"/>
                <a:gd name="connsiteY0" fmla="*/ 59532 h 154782"/>
                <a:gd name="connsiteX1" fmla="*/ 859961 w 928869"/>
                <a:gd name="connsiteY1" fmla="*/ 126413 h 154782"/>
                <a:gd name="connsiteX2" fmla="*/ 624862 w 928869"/>
                <a:gd name="connsiteY2" fmla="*/ 154782 h 154782"/>
                <a:gd name="connsiteX3" fmla="*/ 288460 w 928869"/>
                <a:gd name="connsiteY3" fmla="*/ 126411 h 154782"/>
                <a:gd name="connsiteX4" fmla="*/ 31137 w 928869"/>
                <a:gd name="connsiteY4" fmla="*/ 45244 h 154782"/>
                <a:gd name="connsiteX5" fmla="*/ 95431 w 928869"/>
                <a:gd name="connsiteY5" fmla="*/ 0 h 154782"/>
                <a:gd name="connsiteX0" fmla="*/ 928869 w 928869"/>
                <a:gd name="connsiteY0" fmla="*/ 59532 h 162179"/>
                <a:gd name="connsiteX1" fmla="*/ 859961 w 928869"/>
                <a:gd name="connsiteY1" fmla="*/ 126413 h 162179"/>
                <a:gd name="connsiteX2" fmla="*/ 624862 w 928869"/>
                <a:gd name="connsiteY2" fmla="*/ 154782 h 162179"/>
                <a:gd name="connsiteX3" fmla="*/ 288460 w 928869"/>
                <a:gd name="connsiteY3" fmla="*/ 126411 h 162179"/>
                <a:gd name="connsiteX4" fmla="*/ 31137 w 928869"/>
                <a:gd name="connsiteY4" fmla="*/ 45244 h 162179"/>
                <a:gd name="connsiteX5" fmla="*/ 95431 w 928869"/>
                <a:gd name="connsiteY5" fmla="*/ 0 h 162179"/>
                <a:gd name="connsiteX0" fmla="*/ 928869 w 928869"/>
                <a:gd name="connsiteY0" fmla="*/ 59532 h 164840"/>
                <a:gd name="connsiteX1" fmla="*/ 859961 w 928869"/>
                <a:gd name="connsiteY1" fmla="*/ 126413 h 164840"/>
                <a:gd name="connsiteX2" fmla="*/ 624862 w 928869"/>
                <a:gd name="connsiteY2" fmla="*/ 154782 h 164840"/>
                <a:gd name="connsiteX3" fmla="*/ 288460 w 928869"/>
                <a:gd name="connsiteY3" fmla="*/ 126411 h 164840"/>
                <a:gd name="connsiteX4" fmla="*/ 31137 w 928869"/>
                <a:gd name="connsiteY4" fmla="*/ 45244 h 164840"/>
                <a:gd name="connsiteX5" fmla="*/ 95431 w 928869"/>
                <a:gd name="connsiteY5" fmla="*/ 0 h 164840"/>
                <a:gd name="connsiteX0" fmla="*/ 928869 w 928869"/>
                <a:gd name="connsiteY0" fmla="*/ 59532 h 166155"/>
                <a:gd name="connsiteX1" fmla="*/ 859961 w 928869"/>
                <a:gd name="connsiteY1" fmla="*/ 126413 h 166155"/>
                <a:gd name="connsiteX2" fmla="*/ 691537 w 928869"/>
                <a:gd name="connsiteY2" fmla="*/ 157164 h 166155"/>
                <a:gd name="connsiteX3" fmla="*/ 288460 w 928869"/>
                <a:gd name="connsiteY3" fmla="*/ 126411 h 166155"/>
                <a:gd name="connsiteX4" fmla="*/ 31137 w 928869"/>
                <a:gd name="connsiteY4" fmla="*/ 45244 h 166155"/>
                <a:gd name="connsiteX5" fmla="*/ 95431 w 928869"/>
                <a:gd name="connsiteY5" fmla="*/ 0 h 166155"/>
                <a:gd name="connsiteX0" fmla="*/ 928869 w 928869"/>
                <a:gd name="connsiteY0" fmla="*/ 59532 h 162522"/>
                <a:gd name="connsiteX1" fmla="*/ 859961 w 928869"/>
                <a:gd name="connsiteY1" fmla="*/ 126413 h 162522"/>
                <a:gd name="connsiteX2" fmla="*/ 691537 w 928869"/>
                <a:gd name="connsiteY2" fmla="*/ 157164 h 162522"/>
                <a:gd name="connsiteX3" fmla="*/ 288460 w 928869"/>
                <a:gd name="connsiteY3" fmla="*/ 126411 h 162522"/>
                <a:gd name="connsiteX4" fmla="*/ 31137 w 928869"/>
                <a:gd name="connsiteY4" fmla="*/ 45244 h 162522"/>
                <a:gd name="connsiteX5" fmla="*/ 95431 w 928869"/>
                <a:gd name="connsiteY5" fmla="*/ 0 h 162522"/>
                <a:gd name="connsiteX0" fmla="*/ 919368 w 919368"/>
                <a:gd name="connsiteY0" fmla="*/ 59532 h 159830"/>
                <a:gd name="connsiteX1" fmla="*/ 850460 w 919368"/>
                <a:gd name="connsiteY1" fmla="*/ 126413 h 159830"/>
                <a:gd name="connsiteX2" fmla="*/ 682036 w 919368"/>
                <a:gd name="connsiteY2" fmla="*/ 157164 h 159830"/>
                <a:gd name="connsiteX3" fmla="*/ 155134 w 919368"/>
                <a:gd name="connsiteY3" fmla="*/ 121648 h 159830"/>
                <a:gd name="connsiteX4" fmla="*/ 21636 w 919368"/>
                <a:gd name="connsiteY4" fmla="*/ 45244 h 159830"/>
                <a:gd name="connsiteX5" fmla="*/ 85930 w 919368"/>
                <a:gd name="connsiteY5" fmla="*/ 0 h 159830"/>
                <a:gd name="connsiteX0" fmla="*/ 918286 w 918286"/>
                <a:gd name="connsiteY0" fmla="*/ 59532 h 159830"/>
                <a:gd name="connsiteX1" fmla="*/ 849378 w 918286"/>
                <a:gd name="connsiteY1" fmla="*/ 126413 h 159830"/>
                <a:gd name="connsiteX2" fmla="*/ 680954 w 918286"/>
                <a:gd name="connsiteY2" fmla="*/ 157164 h 159830"/>
                <a:gd name="connsiteX3" fmla="*/ 154052 w 918286"/>
                <a:gd name="connsiteY3" fmla="*/ 121648 h 159830"/>
                <a:gd name="connsiteX4" fmla="*/ 20554 w 918286"/>
                <a:gd name="connsiteY4" fmla="*/ 45244 h 159830"/>
                <a:gd name="connsiteX5" fmla="*/ 84848 w 918286"/>
                <a:gd name="connsiteY5" fmla="*/ 0 h 159830"/>
                <a:gd name="connsiteX0" fmla="*/ 915231 w 915231"/>
                <a:gd name="connsiteY0" fmla="*/ 59532 h 159830"/>
                <a:gd name="connsiteX1" fmla="*/ 846323 w 915231"/>
                <a:gd name="connsiteY1" fmla="*/ 126413 h 159830"/>
                <a:gd name="connsiteX2" fmla="*/ 677899 w 915231"/>
                <a:gd name="connsiteY2" fmla="*/ 157164 h 159830"/>
                <a:gd name="connsiteX3" fmla="*/ 150997 w 915231"/>
                <a:gd name="connsiteY3" fmla="*/ 121648 h 159830"/>
                <a:gd name="connsiteX4" fmla="*/ 22261 w 915231"/>
                <a:gd name="connsiteY4" fmla="*/ 59531 h 159830"/>
                <a:gd name="connsiteX5" fmla="*/ 81793 w 915231"/>
                <a:gd name="connsiteY5" fmla="*/ 0 h 159830"/>
                <a:gd name="connsiteX0" fmla="*/ 916746 w 916746"/>
                <a:gd name="connsiteY0" fmla="*/ 59532 h 159830"/>
                <a:gd name="connsiteX1" fmla="*/ 847838 w 916746"/>
                <a:gd name="connsiteY1" fmla="*/ 126413 h 159830"/>
                <a:gd name="connsiteX2" fmla="*/ 679414 w 916746"/>
                <a:gd name="connsiteY2" fmla="*/ 157164 h 159830"/>
                <a:gd name="connsiteX3" fmla="*/ 152512 w 916746"/>
                <a:gd name="connsiteY3" fmla="*/ 121648 h 159830"/>
                <a:gd name="connsiteX4" fmla="*/ 21395 w 916746"/>
                <a:gd name="connsiteY4" fmla="*/ 76199 h 159830"/>
                <a:gd name="connsiteX5" fmla="*/ 83308 w 916746"/>
                <a:gd name="connsiteY5" fmla="*/ 0 h 159830"/>
                <a:gd name="connsiteX0" fmla="*/ 917675 w 917675"/>
                <a:gd name="connsiteY0" fmla="*/ 59532 h 159830"/>
                <a:gd name="connsiteX1" fmla="*/ 848767 w 917675"/>
                <a:gd name="connsiteY1" fmla="*/ 126413 h 159830"/>
                <a:gd name="connsiteX2" fmla="*/ 680343 w 917675"/>
                <a:gd name="connsiteY2" fmla="*/ 157164 h 159830"/>
                <a:gd name="connsiteX3" fmla="*/ 153441 w 917675"/>
                <a:gd name="connsiteY3" fmla="*/ 121648 h 159830"/>
                <a:gd name="connsiteX4" fmla="*/ 22324 w 917675"/>
                <a:gd name="connsiteY4" fmla="*/ 76199 h 159830"/>
                <a:gd name="connsiteX5" fmla="*/ 84237 w 917675"/>
                <a:gd name="connsiteY5" fmla="*/ 0 h 159830"/>
                <a:gd name="connsiteX0" fmla="*/ 917675 w 917675"/>
                <a:gd name="connsiteY0" fmla="*/ 59609 h 159907"/>
                <a:gd name="connsiteX1" fmla="*/ 848767 w 917675"/>
                <a:gd name="connsiteY1" fmla="*/ 126490 h 159907"/>
                <a:gd name="connsiteX2" fmla="*/ 680343 w 917675"/>
                <a:gd name="connsiteY2" fmla="*/ 157241 h 159907"/>
                <a:gd name="connsiteX3" fmla="*/ 153441 w 917675"/>
                <a:gd name="connsiteY3" fmla="*/ 121725 h 159907"/>
                <a:gd name="connsiteX4" fmla="*/ 22324 w 917675"/>
                <a:gd name="connsiteY4" fmla="*/ 76276 h 159907"/>
                <a:gd name="connsiteX5" fmla="*/ 84237 w 917675"/>
                <a:gd name="connsiteY5" fmla="*/ 77 h 159907"/>
                <a:gd name="connsiteX0" fmla="*/ 902981 w 902981"/>
                <a:gd name="connsiteY0" fmla="*/ 28664 h 128962"/>
                <a:gd name="connsiteX1" fmla="*/ 834073 w 902981"/>
                <a:gd name="connsiteY1" fmla="*/ 95545 h 128962"/>
                <a:gd name="connsiteX2" fmla="*/ 665649 w 902981"/>
                <a:gd name="connsiteY2" fmla="*/ 126296 h 128962"/>
                <a:gd name="connsiteX3" fmla="*/ 138747 w 902981"/>
                <a:gd name="connsiteY3" fmla="*/ 90780 h 128962"/>
                <a:gd name="connsiteX4" fmla="*/ 7630 w 902981"/>
                <a:gd name="connsiteY4" fmla="*/ 45331 h 128962"/>
                <a:gd name="connsiteX5" fmla="*/ 57637 w 902981"/>
                <a:gd name="connsiteY5" fmla="*/ 88 h 128962"/>
                <a:gd name="connsiteX0" fmla="*/ 903972 w 903972"/>
                <a:gd name="connsiteY0" fmla="*/ 57202 h 157500"/>
                <a:gd name="connsiteX1" fmla="*/ 835064 w 903972"/>
                <a:gd name="connsiteY1" fmla="*/ 124083 h 157500"/>
                <a:gd name="connsiteX2" fmla="*/ 666640 w 903972"/>
                <a:gd name="connsiteY2" fmla="*/ 154834 h 157500"/>
                <a:gd name="connsiteX3" fmla="*/ 139738 w 903972"/>
                <a:gd name="connsiteY3" fmla="*/ 119318 h 157500"/>
                <a:gd name="connsiteX4" fmla="*/ 8621 w 903972"/>
                <a:gd name="connsiteY4" fmla="*/ 73869 h 157500"/>
                <a:gd name="connsiteX5" fmla="*/ 72915 w 903972"/>
                <a:gd name="connsiteY5" fmla="*/ 51 h 157500"/>
                <a:gd name="connsiteX0" fmla="*/ 914093 w 914093"/>
                <a:gd name="connsiteY0" fmla="*/ 57204 h 157502"/>
                <a:gd name="connsiteX1" fmla="*/ 845185 w 914093"/>
                <a:gd name="connsiteY1" fmla="*/ 124085 h 157502"/>
                <a:gd name="connsiteX2" fmla="*/ 676761 w 914093"/>
                <a:gd name="connsiteY2" fmla="*/ 154836 h 157502"/>
                <a:gd name="connsiteX3" fmla="*/ 149859 w 914093"/>
                <a:gd name="connsiteY3" fmla="*/ 119320 h 157502"/>
                <a:gd name="connsiteX4" fmla="*/ 18742 w 914093"/>
                <a:gd name="connsiteY4" fmla="*/ 73871 h 157502"/>
                <a:gd name="connsiteX5" fmla="*/ 83036 w 914093"/>
                <a:gd name="connsiteY5" fmla="*/ 53 h 157502"/>
                <a:gd name="connsiteX0" fmla="*/ 923611 w 923611"/>
                <a:gd name="connsiteY0" fmla="*/ 57204 h 157502"/>
                <a:gd name="connsiteX1" fmla="*/ 854703 w 923611"/>
                <a:gd name="connsiteY1" fmla="*/ 124085 h 157502"/>
                <a:gd name="connsiteX2" fmla="*/ 686279 w 923611"/>
                <a:gd name="connsiteY2" fmla="*/ 154836 h 157502"/>
                <a:gd name="connsiteX3" fmla="*/ 159377 w 923611"/>
                <a:gd name="connsiteY3" fmla="*/ 119320 h 157502"/>
                <a:gd name="connsiteX4" fmla="*/ 13972 w 923611"/>
                <a:gd name="connsiteY4" fmla="*/ 73871 h 157502"/>
                <a:gd name="connsiteX5" fmla="*/ 92554 w 923611"/>
                <a:gd name="connsiteY5" fmla="*/ 53 h 157502"/>
                <a:gd name="connsiteX0" fmla="*/ 910855 w 910855"/>
                <a:gd name="connsiteY0" fmla="*/ 57203 h 157674"/>
                <a:gd name="connsiteX1" fmla="*/ 841947 w 910855"/>
                <a:gd name="connsiteY1" fmla="*/ 124084 h 157674"/>
                <a:gd name="connsiteX2" fmla="*/ 673523 w 910855"/>
                <a:gd name="connsiteY2" fmla="*/ 154835 h 157674"/>
                <a:gd name="connsiteX3" fmla="*/ 153764 w 910855"/>
                <a:gd name="connsiteY3" fmla="*/ 116938 h 157674"/>
                <a:gd name="connsiteX4" fmla="*/ 1216 w 910855"/>
                <a:gd name="connsiteY4" fmla="*/ 73870 h 157674"/>
                <a:gd name="connsiteX5" fmla="*/ 79798 w 910855"/>
                <a:gd name="connsiteY5" fmla="*/ 52 h 157674"/>
                <a:gd name="connsiteX0" fmla="*/ 919840 w 919840"/>
                <a:gd name="connsiteY0" fmla="*/ 57204 h 157675"/>
                <a:gd name="connsiteX1" fmla="*/ 850932 w 919840"/>
                <a:gd name="connsiteY1" fmla="*/ 124085 h 157675"/>
                <a:gd name="connsiteX2" fmla="*/ 682508 w 919840"/>
                <a:gd name="connsiteY2" fmla="*/ 154836 h 157675"/>
                <a:gd name="connsiteX3" fmla="*/ 162749 w 919840"/>
                <a:gd name="connsiteY3" fmla="*/ 116939 h 157675"/>
                <a:gd name="connsiteX4" fmla="*/ 10201 w 919840"/>
                <a:gd name="connsiteY4" fmla="*/ 73871 h 157675"/>
                <a:gd name="connsiteX5" fmla="*/ 88783 w 919840"/>
                <a:gd name="connsiteY5" fmla="*/ 53 h 157675"/>
                <a:gd name="connsiteX0" fmla="*/ 922773 w 922773"/>
                <a:gd name="connsiteY0" fmla="*/ 57218 h 157689"/>
                <a:gd name="connsiteX1" fmla="*/ 853865 w 922773"/>
                <a:gd name="connsiteY1" fmla="*/ 124099 h 157689"/>
                <a:gd name="connsiteX2" fmla="*/ 685441 w 922773"/>
                <a:gd name="connsiteY2" fmla="*/ 154850 h 157689"/>
                <a:gd name="connsiteX3" fmla="*/ 165682 w 922773"/>
                <a:gd name="connsiteY3" fmla="*/ 116953 h 157689"/>
                <a:gd name="connsiteX4" fmla="*/ 13134 w 922773"/>
                <a:gd name="connsiteY4" fmla="*/ 73885 h 157689"/>
                <a:gd name="connsiteX5" fmla="*/ 91716 w 922773"/>
                <a:gd name="connsiteY5" fmla="*/ 67 h 157689"/>
                <a:gd name="connsiteX0" fmla="*/ 911192 w 911192"/>
                <a:gd name="connsiteY0" fmla="*/ 57237 h 157708"/>
                <a:gd name="connsiteX1" fmla="*/ 842284 w 911192"/>
                <a:gd name="connsiteY1" fmla="*/ 124118 h 157708"/>
                <a:gd name="connsiteX2" fmla="*/ 673860 w 911192"/>
                <a:gd name="connsiteY2" fmla="*/ 154869 h 157708"/>
                <a:gd name="connsiteX3" fmla="*/ 154101 w 911192"/>
                <a:gd name="connsiteY3" fmla="*/ 116972 h 157708"/>
                <a:gd name="connsiteX4" fmla="*/ 18222 w 911192"/>
                <a:gd name="connsiteY4" fmla="*/ 64379 h 157708"/>
                <a:gd name="connsiteX5" fmla="*/ 80135 w 911192"/>
                <a:gd name="connsiteY5" fmla="*/ 86 h 157708"/>
                <a:gd name="connsiteX0" fmla="*/ 915339 w 915339"/>
                <a:gd name="connsiteY0" fmla="*/ 57239 h 157710"/>
                <a:gd name="connsiteX1" fmla="*/ 846431 w 915339"/>
                <a:gd name="connsiteY1" fmla="*/ 124120 h 157710"/>
                <a:gd name="connsiteX2" fmla="*/ 678007 w 915339"/>
                <a:gd name="connsiteY2" fmla="*/ 154871 h 157710"/>
                <a:gd name="connsiteX3" fmla="*/ 158248 w 915339"/>
                <a:gd name="connsiteY3" fmla="*/ 116974 h 157710"/>
                <a:gd name="connsiteX4" fmla="*/ 22369 w 915339"/>
                <a:gd name="connsiteY4" fmla="*/ 64381 h 157710"/>
                <a:gd name="connsiteX5" fmla="*/ 84282 w 915339"/>
                <a:gd name="connsiteY5" fmla="*/ 88 h 157710"/>
                <a:gd name="connsiteX0" fmla="*/ 901952 w 901952"/>
                <a:gd name="connsiteY0" fmla="*/ 57384 h 157855"/>
                <a:gd name="connsiteX1" fmla="*/ 833044 w 901952"/>
                <a:gd name="connsiteY1" fmla="*/ 124265 h 157855"/>
                <a:gd name="connsiteX2" fmla="*/ 664620 w 901952"/>
                <a:gd name="connsiteY2" fmla="*/ 155016 h 157855"/>
                <a:gd name="connsiteX3" fmla="*/ 144861 w 901952"/>
                <a:gd name="connsiteY3" fmla="*/ 117119 h 157855"/>
                <a:gd name="connsiteX4" fmla="*/ 30413 w 901952"/>
                <a:gd name="connsiteY4" fmla="*/ 43095 h 157855"/>
                <a:gd name="connsiteX5" fmla="*/ 70895 w 901952"/>
                <a:gd name="connsiteY5" fmla="*/ 233 h 157855"/>
                <a:gd name="connsiteX0" fmla="*/ 904773 w 904773"/>
                <a:gd name="connsiteY0" fmla="*/ 57350 h 157821"/>
                <a:gd name="connsiteX1" fmla="*/ 835865 w 904773"/>
                <a:gd name="connsiteY1" fmla="*/ 124231 h 157821"/>
                <a:gd name="connsiteX2" fmla="*/ 667441 w 904773"/>
                <a:gd name="connsiteY2" fmla="*/ 154982 h 157821"/>
                <a:gd name="connsiteX3" fmla="*/ 147682 w 904773"/>
                <a:gd name="connsiteY3" fmla="*/ 117085 h 157821"/>
                <a:gd name="connsiteX4" fmla="*/ 28471 w 904773"/>
                <a:gd name="connsiteY4" fmla="*/ 45442 h 157821"/>
                <a:gd name="connsiteX5" fmla="*/ 73716 w 904773"/>
                <a:gd name="connsiteY5" fmla="*/ 199 h 157821"/>
                <a:gd name="connsiteX0" fmla="*/ 904773 w 904773"/>
                <a:gd name="connsiteY0" fmla="*/ 57350 h 159991"/>
                <a:gd name="connsiteX1" fmla="*/ 850153 w 904773"/>
                <a:gd name="connsiteY1" fmla="*/ 128994 h 159991"/>
                <a:gd name="connsiteX2" fmla="*/ 667441 w 904773"/>
                <a:gd name="connsiteY2" fmla="*/ 154982 h 159991"/>
                <a:gd name="connsiteX3" fmla="*/ 147682 w 904773"/>
                <a:gd name="connsiteY3" fmla="*/ 117085 h 159991"/>
                <a:gd name="connsiteX4" fmla="*/ 28471 w 904773"/>
                <a:gd name="connsiteY4" fmla="*/ 45442 h 159991"/>
                <a:gd name="connsiteX5" fmla="*/ 73716 w 904773"/>
                <a:gd name="connsiteY5" fmla="*/ 199 h 159991"/>
                <a:gd name="connsiteX0" fmla="*/ 891251 w 891251"/>
                <a:gd name="connsiteY0" fmla="*/ 57252 h 159893"/>
                <a:gd name="connsiteX1" fmla="*/ 836631 w 891251"/>
                <a:gd name="connsiteY1" fmla="*/ 128896 h 159893"/>
                <a:gd name="connsiteX2" fmla="*/ 653919 w 891251"/>
                <a:gd name="connsiteY2" fmla="*/ 154884 h 159893"/>
                <a:gd name="connsiteX3" fmla="*/ 130985 w 891251"/>
                <a:gd name="connsiteY3" fmla="*/ 116987 h 159893"/>
                <a:gd name="connsiteX4" fmla="*/ 14949 w 891251"/>
                <a:gd name="connsiteY4" fmla="*/ 45344 h 159893"/>
                <a:gd name="connsiteX5" fmla="*/ 60194 w 891251"/>
                <a:gd name="connsiteY5" fmla="*/ 101 h 159893"/>
                <a:gd name="connsiteX0" fmla="*/ 878053 w 878053"/>
                <a:gd name="connsiteY0" fmla="*/ 57252 h 159893"/>
                <a:gd name="connsiteX1" fmla="*/ 823433 w 878053"/>
                <a:gd name="connsiteY1" fmla="*/ 128896 h 159893"/>
                <a:gd name="connsiteX2" fmla="*/ 640721 w 878053"/>
                <a:gd name="connsiteY2" fmla="*/ 154884 h 159893"/>
                <a:gd name="connsiteX3" fmla="*/ 117787 w 878053"/>
                <a:gd name="connsiteY3" fmla="*/ 116987 h 159893"/>
                <a:gd name="connsiteX4" fmla="*/ 1751 w 878053"/>
                <a:gd name="connsiteY4" fmla="*/ 45344 h 159893"/>
                <a:gd name="connsiteX5" fmla="*/ 46996 w 878053"/>
                <a:gd name="connsiteY5" fmla="*/ 101 h 159893"/>
                <a:gd name="connsiteX0" fmla="*/ 881139 w 881139"/>
                <a:gd name="connsiteY0" fmla="*/ 57228 h 159869"/>
                <a:gd name="connsiteX1" fmla="*/ 826519 w 881139"/>
                <a:gd name="connsiteY1" fmla="*/ 128872 h 159869"/>
                <a:gd name="connsiteX2" fmla="*/ 643807 w 881139"/>
                <a:gd name="connsiteY2" fmla="*/ 154860 h 159869"/>
                <a:gd name="connsiteX3" fmla="*/ 120873 w 881139"/>
                <a:gd name="connsiteY3" fmla="*/ 116963 h 159869"/>
                <a:gd name="connsiteX4" fmla="*/ 1662 w 881139"/>
                <a:gd name="connsiteY4" fmla="*/ 54845 h 159869"/>
                <a:gd name="connsiteX5" fmla="*/ 50082 w 881139"/>
                <a:gd name="connsiteY5" fmla="*/ 77 h 159869"/>
                <a:gd name="connsiteX0" fmla="*/ 888020 w 888020"/>
                <a:gd name="connsiteY0" fmla="*/ 57241 h 159882"/>
                <a:gd name="connsiteX1" fmla="*/ 833400 w 888020"/>
                <a:gd name="connsiteY1" fmla="*/ 128885 h 159882"/>
                <a:gd name="connsiteX2" fmla="*/ 650688 w 888020"/>
                <a:gd name="connsiteY2" fmla="*/ 154873 h 159882"/>
                <a:gd name="connsiteX3" fmla="*/ 127754 w 888020"/>
                <a:gd name="connsiteY3" fmla="*/ 116976 h 159882"/>
                <a:gd name="connsiteX4" fmla="*/ 8543 w 888020"/>
                <a:gd name="connsiteY4" fmla="*/ 54858 h 159882"/>
                <a:gd name="connsiteX5" fmla="*/ 56963 w 888020"/>
                <a:gd name="connsiteY5" fmla="*/ 90 h 159882"/>
                <a:gd name="connsiteX0" fmla="*/ 898388 w 898388"/>
                <a:gd name="connsiteY0" fmla="*/ 57217 h 159858"/>
                <a:gd name="connsiteX1" fmla="*/ 843768 w 898388"/>
                <a:gd name="connsiteY1" fmla="*/ 128861 h 159858"/>
                <a:gd name="connsiteX2" fmla="*/ 661056 w 898388"/>
                <a:gd name="connsiteY2" fmla="*/ 154849 h 159858"/>
                <a:gd name="connsiteX3" fmla="*/ 138122 w 898388"/>
                <a:gd name="connsiteY3" fmla="*/ 116952 h 159858"/>
                <a:gd name="connsiteX4" fmla="*/ 6211 w 898388"/>
                <a:gd name="connsiteY4" fmla="*/ 67534 h 159858"/>
                <a:gd name="connsiteX5" fmla="*/ 67331 w 898388"/>
                <a:gd name="connsiteY5" fmla="*/ 66 h 159858"/>
                <a:gd name="connsiteX0" fmla="*/ 931758 w 931758"/>
                <a:gd name="connsiteY0" fmla="*/ 11950 h 470846"/>
                <a:gd name="connsiteX1" fmla="*/ 877138 w 931758"/>
                <a:gd name="connsiteY1" fmla="*/ 83594 h 470846"/>
                <a:gd name="connsiteX2" fmla="*/ 694426 w 931758"/>
                <a:gd name="connsiteY2" fmla="*/ 109582 h 470846"/>
                <a:gd name="connsiteX3" fmla="*/ 171492 w 931758"/>
                <a:gd name="connsiteY3" fmla="*/ 71685 h 470846"/>
                <a:gd name="connsiteX4" fmla="*/ 39581 w 931758"/>
                <a:gd name="connsiteY4" fmla="*/ 22267 h 470846"/>
                <a:gd name="connsiteX5" fmla="*/ 1113 w 931758"/>
                <a:gd name="connsiteY5" fmla="*/ 470846 h 470846"/>
                <a:gd name="connsiteX0" fmla="*/ 937723 w 937723"/>
                <a:gd name="connsiteY0" fmla="*/ 0 h 458896"/>
                <a:gd name="connsiteX1" fmla="*/ 883103 w 937723"/>
                <a:gd name="connsiteY1" fmla="*/ 71644 h 458896"/>
                <a:gd name="connsiteX2" fmla="*/ 700391 w 937723"/>
                <a:gd name="connsiteY2" fmla="*/ 97632 h 458896"/>
                <a:gd name="connsiteX3" fmla="*/ 177457 w 937723"/>
                <a:gd name="connsiteY3" fmla="*/ 59735 h 458896"/>
                <a:gd name="connsiteX4" fmla="*/ 18386 w 937723"/>
                <a:gd name="connsiteY4" fmla="*/ 100852 h 458896"/>
                <a:gd name="connsiteX5" fmla="*/ 7078 w 937723"/>
                <a:gd name="connsiteY5" fmla="*/ 458896 h 458896"/>
                <a:gd name="connsiteX0" fmla="*/ 937723 w 937723"/>
                <a:gd name="connsiteY0" fmla="*/ 0 h 458896"/>
                <a:gd name="connsiteX1" fmla="*/ 883103 w 937723"/>
                <a:gd name="connsiteY1" fmla="*/ 71644 h 458896"/>
                <a:gd name="connsiteX2" fmla="*/ 700391 w 937723"/>
                <a:gd name="connsiteY2" fmla="*/ 97632 h 458896"/>
                <a:gd name="connsiteX3" fmla="*/ 177457 w 937723"/>
                <a:gd name="connsiteY3" fmla="*/ 59735 h 458896"/>
                <a:gd name="connsiteX4" fmla="*/ 18386 w 937723"/>
                <a:gd name="connsiteY4" fmla="*/ 100852 h 458896"/>
                <a:gd name="connsiteX5" fmla="*/ 7078 w 937723"/>
                <a:gd name="connsiteY5" fmla="*/ 458896 h 458896"/>
                <a:gd name="connsiteX0" fmla="*/ 937723 w 937723"/>
                <a:gd name="connsiteY0" fmla="*/ 0 h 458896"/>
                <a:gd name="connsiteX1" fmla="*/ 883103 w 937723"/>
                <a:gd name="connsiteY1" fmla="*/ 71644 h 458896"/>
                <a:gd name="connsiteX2" fmla="*/ 700391 w 937723"/>
                <a:gd name="connsiteY2" fmla="*/ 97632 h 458896"/>
                <a:gd name="connsiteX3" fmla="*/ 177457 w 937723"/>
                <a:gd name="connsiteY3" fmla="*/ 59735 h 458896"/>
                <a:gd name="connsiteX4" fmla="*/ 18386 w 937723"/>
                <a:gd name="connsiteY4" fmla="*/ 100852 h 458896"/>
                <a:gd name="connsiteX5" fmla="*/ 7078 w 937723"/>
                <a:gd name="connsiteY5" fmla="*/ 458896 h 458896"/>
                <a:gd name="connsiteX0" fmla="*/ 936442 w 936442"/>
                <a:gd name="connsiteY0" fmla="*/ 0 h 325546"/>
                <a:gd name="connsiteX1" fmla="*/ 881822 w 936442"/>
                <a:gd name="connsiteY1" fmla="*/ 71644 h 325546"/>
                <a:gd name="connsiteX2" fmla="*/ 699110 w 936442"/>
                <a:gd name="connsiteY2" fmla="*/ 97632 h 325546"/>
                <a:gd name="connsiteX3" fmla="*/ 176176 w 936442"/>
                <a:gd name="connsiteY3" fmla="*/ 59735 h 325546"/>
                <a:gd name="connsiteX4" fmla="*/ 17105 w 936442"/>
                <a:gd name="connsiteY4" fmla="*/ 100852 h 325546"/>
                <a:gd name="connsiteX5" fmla="*/ 8178 w 936442"/>
                <a:gd name="connsiteY5" fmla="*/ 325546 h 325546"/>
                <a:gd name="connsiteX0" fmla="*/ 939110 w 939110"/>
                <a:gd name="connsiteY0" fmla="*/ 0 h 454134"/>
                <a:gd name="connsiteX1" fmla="*/ 884490 w 939110"/>
                <a:gd name="connsiteY1" fmla="*/ 71644 h 454134"/>
                <a:gd name="connsiteX2" fmla="*/ 701778 w 939110"/>
                <a:gd name="connsiteY2" fmla="*/ 97632 h 454134"/>
                <a:gd name="connsiteX3" fmla="*/ 178844 w 939110"/>
                <a:gd name="connsiteY3" fmla="*/ 59735 h 454134"/>
                <a:gd name="connsiteX4" fmla="*/ 19773 w 939110"/>
                <a:gd name="connsiteY4" fmla="*/ 100852 h 454134"/>
                <a:gd name="connsiteX5" fmla="*/ 6084 w 939110"/>
                <a:gd name="connsiteY5" fmla="*/ 454134 h 454134"/>
                <a:gd name="connsiteX0" fmla="*/ 942215 w 942215"/>
                <a:gd name="connsiteY0" fmla="*/ 0 h 406509"/>
                <a:gd name="connsiteX1" fmla="*/ 887595 w 942215"/>
                <a:gd name="connsiteY1" fmla="*/ 71644 h 406509"/>
                <a:gd name="connsiteX2" fmla="*/ 704883 w 942215"/>
                <a:gd name="connsiteY2" fmla="*/ 97632 h 406509"/>
                <a:gd name="connsiteX3" fmla="*/ 181949 w 942215"/>
                <a:gd name="connsiteY3" fmla="*/ 59735 h 406509"/>
                <a:gd name="connsiteX4" fmla="*/ 22878 w 942215"/>
                <a:gd name="connsiteY4" fmla="*/ 100852 h 406509"/>
                <a:gd name="connsiteX5" fmla="*/ 4427 w 942215"/>
                <a:gd name="connsiteY5" fmla="*/ 406509 h 406509"/>
                <a:gd name="connsiteX0" fmla="*/ 942215 w 942215"/>
                <a:gd name="connsiteY0" fmla="*/ 0 h 451752"/>
                <a:gd name="connsiteX1" fmla="*/ 887595 w 942215"/>
                <a:gd name="connsiteY1" fmla="*/ 71644 h 451752"/>
                <a:gd name="connsiteX2" fmla="*/ 704883 w 942215"/>
                <a:gd name="connsiteY2" fmla="*/ 97632 h 451752"/>
                <a:gd name="connsiteX3" fmla="*/ 181949 w 942215"/>
                <a:gd name="connsiteY3" fmla="*/ 59735 h 451752"/>
                <a:gd name="connsiteX4" fmla="*/ 22878 w 942215"/>
                <a:gd name="connsiteY4" fmla="*/ 100852 h 451752"/>
                <a:gd name="connsiteX5" fmla="*/ 4427 w 942215"/>
                <a:gd name="connsiteY5" fmla="*/ 451752 h 451752"/>
                <a:gd name="connsiteX0" fmla="*/ 945318 w 945318"/>
                <a:gd name="connsiteY0" fmla="*/ 0 h 451752"/>
                <a:gd name="connsiteX1" fmla="*/ 890698 w 945318"/>
                <a:gd name="connsiteY1" fmla="*/ 71644 h 451752"/>
                <a:gd name="connsiteX2" fmla="*/ 707986 w 945318"/>
                <a:gd name="connsiteY2" fmla="*/ 97632 h 451752"/>
                <a:gd name="connsiteX3" fmla="*/ 185052 w 945318"/>
                <a:gd name="connsiteY3" fmla="*/ 59735 h 451752"/>
                <a:gd name="connsiteX4" fmla="*/ 18837 w 945318"/>
                <a:gd name="connsiteY4" fmla="*/ 174670 h 451752"/>
                <a:gd name="connsiteX5" fmla="*/ 7530 w 945318"/>
                <a:gd name="connsiteY5" fmla="*/ 451752 h 451752"/>
                <a:gd name="connsiteX0" fmla="*/ 939130 w 939130"/>
                <a:gd name="connsiteY0" fmla="*/ 0 h 451752"/>
                <a:gd name="connsiteX1" fmla="*/ 884510 w 939130"/>
                <a:gd name="connsiteY1" fmla="*/ 71644 h 451752"/>
                <a:gd name="connsiteX2" fmla="*/ 701798 w 939130"/>
                <a:gd name="connsiteY2" fmla="*/ 97632 h 451752"/>
                <a:gd name="connsiteX3" fmla="*/ 178864 w 939130"/>
                <a:gd name="connsiteY3" fmla="*/ 59735 h 451752"/>
                <a:gd name="connsiteX4" fmla="*/ 12649 w 939130"/>
                <a:gd name="connsiteY4" fmla="*/ 174670 h 451752"/>
                <a:gd name="connsiteX5" fmla="*/ 1342 w 939130"/>
                <a:gd name="connsiteY5" fmla="*/ 451752 h 451752"/>
                <a:gd name="connsiteX0" fmla="*/ 944627 w 944627"/>
                <a:gd name="connsiteY0" fmla="*/ 0 h 451752"/>
                <a:gd name="connsiteX1" fmla="*/ 890007 w 944627"/>
                <a:gd name="connsiteY1" fmla="*/ 71644 h 451752"/>
                <a:gd name="connsiteX2" fmla="*/ 707295 w 944627"/>
                <a:gd name="connsiteY2" fmla="*/ 97632 h 451752"/>
                <a:gd name="connsiteX3" fmla="*/ 184361 w 944627"/>
                <a:gd name="connsiteY3" fmla="*/ 59735 h 451752"/>
                <a:gd name="connsiteX4" fmla="*/ 1478 w 944627"/>
                <a:gd name="connsiteY4" fmla="*/ 172289 h 451752"/>
                <a:gd name="connsiteX5" fmla="*/ 6839 w 944627"/>
                <a:gd name="connsiteY5" fmla="*/ 451752 h 451752"/>
                <a:gd name="connsiteX0" fmla="*/ 940614 w 940614"/>
                <a:gd name="connsiteY0" fmla="*/ 0 h 451752"/>
                <a:gd name="connsiteX1" fmla="*/ 885994 w 940614"/>
                <a:gd name="connsiteY1" fmla="*/ 71644 h 451752"/>
                <a:gd name="connsiteX2" fmla="*/ 703282 w 940614"/>
                <a:gd name="connsiteY2" fmla="*/ 97632 h 451752"/>
                <a:gd name="connsiteX3" fmla="*/ 180348 w 940614"/>
                <a:gd name="connsiteY3" fmla="*/ 59735 h 451752"/>
                <a:gd name="connsiteX4" fmla="*/ 4608 w 940614"/>
                <a:gd name="connsiteY4" fmla="*/ 174670 h 451752"/>
                <a:gd name="connsiteX5" fmla="*/ 2826 w 940614"/>
                <a:gd name="connsiteY5" fmla="*/ 451752 h 451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0614" h="451752">
                  <a:moveTo>
                    <a:pt x="940614" y="0"/>
                  </a:moveTo>
                  <a:cubicBezTo>
                    <a:pt x="933892" y="10750"/>
                    <a:pt x="909674" y="45053"/>
                    <a:pt x="885994" y="71644"/>
                  </a:cubicBezTo>
                  <a:cubicBezTo>
                    <a:pt x="824213" y="117286"/>
                    <a:pt x="820890" y="99617"/>
                    <a:pt x="703282" y="97632"/>
                  </a:cubicBezTo>
                  <a:cubicBezTo>
                    <a:pt x="585674" y="95647"/>
                    <a:pt x="355982" y="71574"/>
                    <a:pt x="180348" y="59735"/>
                  </a:cubicBezTo>
                  <a:cubicBezTo>
                    <a:pt x="24243" y="55767"/>
                    <a:pt x="8001" y="106953"/>
                    <a:pt x="4608" y="174670"/>
                  </a:cubicBezTo>
                  <a:cubicBezTo>
                    <a:pt x="1019" y="246303"/>
                    <a:pt x="-2731" y="449769"/>
                    <a:pt x="2826" y="451752"/>
                  </a:cubicBezTo>
                </a:path>
              </a:pathLst>
            </a:custGeom>
            <a:noFill/>
            <a:ln w="28575">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31" name="Bild 5" descr="TAD.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46991" y="4627253"/>
              <a:ext cx="939453" cy="1502620"/>
            </a:xfrm>
            <a:prstGeom prst="rect">
              <a:avLst/>
            </a:prstGeom>
          </p:spPr>
        </p:pic>
        <p:sp>
          <p:nvSpPr>
            <p:cNvPr id="32" name="Freihandform 31"/>
            <p:cNvSpPr/>
            <p:nvPr/>
          </p:nvSpPr>
          <p:spPr>
            <a:xfrm>
              <a:off x="4102282" y="4494232"/>
              <a:ext cx="464958" cy="780364"/>
            </a:xfrm>
            <a:custGeom>
              <a:avLst/>
              <a:gdLst>
                <a:gd name="connsiteX0" fmla="*/ 1733550 w 1733550"/>
                <a:gd name="connsiteY0" fmla="*/ 857250 h 962025"/>
                <a:gd name="connsiteX1" fmla="*/ 1612900 w 1733550"/>
                <a:gd name="connsiteY1" fmla="*/ 962025 h 962025"/>
                <a:gd name="connsiteX2" fmla="*/ 0 w 1733550"/>
                <a:gd name="connsiteY2" fmla="*/ 838200 h 962025"/>
                <a:gd name="connsiteX3" fmla="*/ 666750 w 1733550"/>
                <a:gd name="connsiteY3" fmla="*/ 323850 h 962025"/>
                <a:gd name="connsiteX4" fmla="*/ 666750 w 1733550"/>
                <a:gd name="connsiteY4" fmla="*/ 0 h 962025"/>
                <a:gd name="connsiteX0" fmla="*/ 1756203 w 1756203"/>
                <a:gd name="connsiteY0" fmla="*/ 857250 h 962025"/>
                <a:gd name="connsiteX1" fmla="*/ 1635553 w 1756203"/>
                <a:gd name="connsiteY1" fmla="*/ 962025 h 962025"/>
                <a:gd name="connsiteX2" fmla="*/ 22653 w 1756203"/>
                <a:gd name="connsiteY2" fmla="*/ 838200 h 962025"/>
                <a:gd name="connsiteX3" fmla="*/ 689403 w 1756203"/>
                <a:gd name="connsiteY3" fmla="*/ 323850 h 962025"/>
                <a:gd name="connsiteX4" fmla="*/ 689403 w 1756203"/>
                <a:gd name="connsiteY4" fmla="*/ 0 h 962025"/>
                <a:gd name="connsiteX0" fmla="*/ 1756203 w 1756203"/>
                <a:gd name="connsiteY0" fmla="*/ 857250 h 962025"/>
                <a:gd name="connsiteX1" fmla="*/ 1635553 w 1756203"/>
                <a:gd name="connsiteY1" fmla="*/ 962025 h 962025"/>
                <a:gd name="connsiteX2" fmla="*/ 22653 w 1756203"/>
                <a:gd name="connsiteY2" fmla="*/ 838200 h 962025"/>
                <a:gd name="connsiteX3" fmla="*/ 689403 w 1756203"/>
                <a:gd name="connsiteY3" fmla="*/ 323850 h 962025"/>
                <a:gd name="connsiteX4" fmla="*/ 689403 w 1756203"/>
                <a:gd name="connsiteY4" fmla="*/ 0 h 962025"/>
                <a:gd name="connsiteX0" fmla="*/ 1756203 w 1791674"/>
                <a:gd name="connsiteY0" fmla="*/ 857250 h 962125"/>
                <a:gd name="connsiteX1" fmla="*/ 1635553 w 1791674"/>
                <a:gd name="connsiteY1" fmla="*/ 962025 h 962125"/>
                <a:gd name="connsiteX2" fmla="*/ 22653 w 1791674"/>
                <a:gd name="connsiteY2" fmla="*/ 838200 h 962125"/>
                <a:gd name="connsiteX3" fmla="*/ 689403 w 1791674"/>
                <a:gd name="connsiteY3" fmla="*/ 323850 h 962125"/>
                <a:gd name="connsiteX4" fmla="*/ 689403 w 1791674"/>
                <a:gd name="connsiteY4" fmla="*/ 0 h 962125"/>
                <a:gd name="connsiteX0" fmla="*/ 1758028 w 1793499"/>
                <a:gd name="connsiteY0" fmla="*/ 857250 h 962125"/>
                <a:gd name="connsiteX1" fmla="*/ 1637378 w 1793499"/>
                <a:gd name="connsiteY1" fmla="*/ 962025 h 962125"/>
                <a:gd name="connsiteX2" fmla="*/ 24478 w 1793499"/>
                <a:gd name="connsiteY2" fmla="*/ 838200 h 962125"/>
                <a:gd name="connsiteX3" fmla="*/ 665034 w 1793499"/>
                <a:gd name="connsiteY3" fmla="*/ 352425 h 962125"/>
                <a:gd name="connsiteX4" fmla="*/ 691228 w 1793499"/>
                <a:gd name="connsiteY4" fmla="*/ 0 h 962125"/>
                <a:gd name="connsiteX0" fmla="*/ 1757134 w 1792605"/>
                <a:gd name="connsiteY0" fmla="*/ 857250 h 962125"/>
                <a:gd name="connsiteX1" fmla="*/ 1636484 w 1792605"/>
                <a:gd name="connsiteY1" fmla="*/ 962025 h 962125"/>
                <a:gd name="connsiteX2" fmla="*/ 23584 w 1792605"/>
                <a:gd name="connsiteY2" fmla="*/ 838200 h 962125"/>
                <a:gd name="connsiteX3" fmla="*/ 664140 w 1792605"/>
                <a:gd name="connsiteY3" fmla="*/ 352425 h 962125"/>
                <a:gd name="connsiteX4" fmla="*/ 690334 w 1792605"/>
                <a:gd name="connsiteY4" fmla="*/ 0 h 962125"/>
                <a:gd name="connsiteX0" fmla="*/ 1756629 w 1792100"/>
                <a:gd name="connsiteY0" fmla="*/ 857250 h 962125"/>
                <a:gd name="connsiteX1" fmla="*/ 1635979 w 1792100"/>
                <a:gd name="connsiteY1" fmla="*/ 962025 h 962125"/>
                <a:gd name="connsiteX2" fmla="*/ 23079 w 1792100"/>
                <a:gd name="connsiteY2" fmla="*/ 838200 h 962125"/>
                <a:gd name="connsiteX3" fmla="*/ 663635 w 1792100"/>
                <a:gd name="connsiteY3" fmla="*/ 352425 h 962125"/>
                <a:gd name="connsiteX4" fmla="*/ 689829 w 1792100"/>
                <a:gd name="connsiteY4" fmla="*/ 0 h 962125"/>
                <a:gd name="connsiteX0" fmla="*/ 1757796 w 1793267"/>
                <a:gd name="connsiteY0" fmla="*/ 857250 h 962125"/>
                <a:gd name="connsiteX1" fmla="*/ 1637146 w 1793267"/>
                <a:gd name="connsiteY1" fmla="*/ 962025 h 962125"/>
                <a:gd name="connsiteX2" fmla="*/ 24246 w 1793267"/>
                <a:gd name="connsiteY2" fmla="*/ 838200 h 962125"/>
                <a:gd name="connsiteX3" fmla="*/ 664802 w 1793267"/>
                <a:gd name="connsiteY3" fmla="*/ 352425 h 962125"/>
                <a:gd name="connsiteX4" fmla="*/ 690996 w 1793267"/>
                <a:gd name="connsiteY4" fmla="*/ 0 h 962125"/>
                <a:gd name="connsiteX0" fmla="*/ 1759182 w 1794653"/>
                <a:gd name="connsiteY0" fmla="*/ 857250 h 962125"/>
                <a:gd name="connsiteX1" fmla="*/ 1638532 w 1794653"/>
                <a:gd name="connsiteY1" fmla="*/ 962025 h 962125"/>
                <a:gd name="connsiteX2" fmla="*/ 25632 w 1794653"/>
                <a:gd name="connsiteY2" fmla="*/ 838200 h 962125"/>
                <a:gd name="connsiteX3" fmla="*/ 647138 w 1794653"/>
                <a:gd name="connsiteY3" fmla="*/ 366712 h 962125"/>
                <a:gd name="connsiteX4" fmla="*/ 692382 w 1794653"/>
                <a:gd name="connsiteY4" fmla="*/ 0 h 962125"/>
                <a:gd name="connsiteX0" fmla="*/ 1758482 w 1793953"/>
                <a:gd name="connsiteY0" fmla="*/ 857250 h 962125"/>
                <a:gd name="connsiteX1" fmla="*/ 1637832 w 1793953"/>
                <a:gd name="connsiteY1" fmla="*/ 962025 h 962125"/>
                <a:gd name="connsiteX2" fmla="*/ 24932 w 1793953"/>
                <a:gd name="connsiteY2" fmla="*/ 838200 h 962125"/>
                <a:gd name="connsiteX3" fmla="*/ 655963 w 1793953"/>
                <a:gd name="connsiteY3" fmla="*/ 359568 h 962125"/>
                <a:gd name="connsiteX4" fmla="*/ 691682 w 1793953"/>
                <a:gd name="connsiteY4" fmla="*/ 0 h 962125"/>
                <a:gd name="connsiteX0" fmla="*/ 1758414 w 1793885"/>
                <a:gd name="connsiteY0" fmla="*/ 857250 h 962125"/>
                <a:gd name="connsiteX1" fmla="*/ 1637764 w 1793885"/>
                <a:gd name="connsiteY1" fmla="*/ 962025 h 962125"/>
                <a:gd name="connsiteX2" fmla="*/ 24864 w 1793885"/>
                <a:gd name="connsiteY2" fmla="*/ 838200 h 962125"/>
                <a:gd name="connsiteX3" fmla="*/ 655895 w 1793885"/>
                <a:gd name="connsiteY3" fmla="*/ 359568 h 962125"/>
                <a:gd name="connsiteX4" fmla="*/ 691614 w 1793885"/>
                <a:gd name="connsiteY4" fmla="*/ 0 h 962125"/>
                <a:gd name="connsiteX0" fmla="*/ 1758760 w 1794231"/>
                <a:gd name="connsiteY0" fmla="*/ 857250 h 962125"/>
                <a:gd name="connsiteX1" fmla="*/ 1638110 w 1794231"/>
                <a:gd name="connsiteY1" fmla="*/ 962025 h 962125"/>
                <a:gd name="connsiteX2" fmla="*/ 25210 w 1794231"/>
                <a:gd name="connsiteY2" fmla="*/ 838200 h 962125"/>
                <a:gd name="connsiteX3" fmla="*/ 651478 w 1794231"/>
                <a:gd name="connsiteY3" fmla="*/ 359568 h 962125"/>
                <a:gd name="connsiteX4" fmla="*/ 691960 w 1794231"/>
                <a:gd name="connsiteY4" fmla="*/ 0 h 962125"/>
                <a:gd name="connsiteX0" fmla="*/ 1759941 w 1795412"/>
                <a:gd name="connsiteY0" fmla="*/ 857250 h 962125"/>
                <a:gd name="connsiteX1" fmla="*/ 1639291 w 1795412"/>
                <a:gd name="connsiteY1" fmla="*/ 962025 h 962125"/>
                <a:gd name="connsiteX2" fmla="*/ 26391 w 1795412"/>
                <a:gd name="connsiteY2" fmla="*/ 838200 h 962125"/>
                <a:gd name="connsiteX3" fmla="*/ 652659 w 1795412"/>
                <a:gd name="connsiteY3" fmla="*/ 359568 h 962125"/>
                <a:gd name="connsiteX4" fmla="*/ 693141 w 1795412"/>
                <a:gd name="connsiteY4" fmla="*/ 0 h 962125"/>
                <a:gd name="connsiteX0" fmla="*/ 1759941 w 1795412"/>
                <a:gd name="connsiteY0" fmla="*/ 857250 h 962125"/>
                <a:gd name="connsiteX1" fmla="*/ 1639291 w 1795412"/>
                <a:gd name="connsiteY1" fmla="*/ 962025 h 962125"/>
                <a:gd name="connsiteX2" fmla="*/ 26391 w 1795412"/>
                <a:gd name="connsiteY2" fmla="*/ 838200 h 962125"/>
                <a:gd name="connsiteX3" fmla="*/ 652659 w 1795412"/>
                <a:gd name="connsiteY3" fmla="*/ 359568 h 962125"/>
                <a:gd name="connsiteX4" fmla="*/ 693141 w 1795412"/>
                <a:gd name="connsiteY4" fmla="*/ 0 h 962125"/>
                <a:gd name="connsiteX0" fmla="*/ 1759554 w 1795025"/>
                <a:gd name="connsiteY0" fmla="*/ 857250 h 962125"/>
                <a:gd name="connsiteX1" fmla="*/ 1638904 w 1795025"/>
                <a:gd name="connsiteY1" fmla="*/ 962025 h 962125"/>
                <a:gd name="connsiteX2" fmla="*/ 26004 w 1795025"/>
                <a:gd name="connsiteY2" fmla="*/ 838200 h 962125"/>
                <a:gd name="connsiteX3" fmla="*/ 652272 w 1795025"/>
                <a:gd name="connsiteY3" fmla="*/ 359568 h 962125"/>
                <a:gd name="connsiteX4" fmla="*/ 692754 w 1795025"/>
                <a:gd name="connsiteY4" fmla="*/ 0 h 962125"/>
                <a:gd name="connsiteX0" fmla="*/ 1696629 w 1727609"/>
                <a:gd name="connsiteY0" fmla="*/ 857250 h 962278"/>
                <a:gd name="connsiteX1" fmla="*/ 1575979 w 1727609"/>
                <a:gd name="connsiteY1" fmla="*/ 962025 h 962278"/>
                <a:gd name="connsiteX2" fmla="*/ 27373 w 1727609"/>
                <a:gd name="connsiteY2" fmla="*/ 826294 h 962278"/>
                <a:gd name="connsiteX3" fmla="*/ 589347 w 1727609"/>
                <a:gd name="connsiteY3" fmla="*/ 359568 h 962278"/>
                <a:gd name="connsiteX4" fmla="*/ 629829 w 1727609"/>
                <a:gd name="connsiteY4" fmla="*/ 0 h 962278"/>
                <a:gd name="connsiteX0" fmla="*/ 1704087 w 1735067"/>
                <a:gd name="connsiteY0" fmla="*/ 857250 h 962278"/>
                <a:gd name="connsiteX1" fmla="*/ 1583437 w 1735067"/>
                <a:gd name="connsiteY1" fmla="*/ 962025 h 962278"/>
                <a:gd name="connsiteX2" fmla="*/ 34831 w 1735067"/>
                <a:gd name="connsiteY2" fmla="*/ 826294 h 962278"/>
                <a:gd name="connsiteX3" fmla="*/ 596805 w 1735067"/>
                <a:gd name="connsiteY3" fmla="*/ 359568 h 962278"/>
                <a:gd name="connsiteX4" fmla="*/ 637287 w 1735067"/>
                <a:gd name="connsiteY4" fmla="*/ 0 h 962278"/>
                <a:gd name="connsiteX0" fmla="*/ 1685946 w 1716926"/>
                <a:gd name="connsiteY0" fmla="*/ 857250 h 962278"/>
                <a:gd name="connsiteX1" fmla="*/ 1565296 w 1716926"/>
                <a:gd name="connsiteY1" fmla="*/ 962025 h 962278"/>
                <a:gd name="connsiteX2" fmla="*/ 16690 w 1716926"/>
                <a:gd name="connsiteY2" fmla="*/ 826294 h 962278"/>
                <a:gd name="connsiteX3" fmla="*/ 578664 w 1716926"/>
                <a:gd name="connsiteY3" fmla="*/ 359568 h 962278"/>
                <a:gd name="connsiteX4" fmla="*/ 619146 w 1716926"/>
                <a:gd name="connsiteY4" fmla="*/ 0 h 962278"/>
                <a:gd name="connsiteX0" fmla="*/ 1716282 w 1749421"/>
                <a:gd name="connsiteY0" fmla="*/ 857250 h 962065"/>
                <a:gd name="connsiteX1" fmla="*/ 1595632 w 1749421"/>
                <a:gd name="connsiteY1" fmla="*/ 962025 h 962065"/>
                <a:gd name="connsiteX2" fmla="*/ 16070 w 1749421"/>
                <a:gd name="connsiteY2" fmla="*/ 845344 h 962065"/>
                <a:gd name="connsiteX3" fmla="*/ 609000 w 1749421"/>
                <a:gd name="connsiteY3" fmla="*/ 359568 h 962065"/>
                <a:gd name="connsiteX4" fmla="*/ 649482 w 1749421"/>
                <a:gd name="connsiteY4" fmla="*/ 0 h 962065"/>
                <a:gd name="connsiteX0" fmla="*/ 1716716 w 1749855"/>
                <a:gd name="connsiteY0" fmla="*/ 857250 h 962065"/>
                <a:gd name="connsiteX1" fmla="*/ 1596066 w 1749855"/>
                <a:gd name="connsiteY1" fmla="*/ 962025 h 962065"/>
                <a:gd name="connsiteX2" fmla="*/ 16504 w 1749855"/>
                <a:gd name="connsiteY2" fmla="*/ 845344 h 962065"/>
                <a:gd name="connsiteX3" fmla="*/ 609434 w 1749855"/>
                <a:gd name="connsiteY3" fmla="*/ 359568 h 962065"/>
                <a:gd name="connsiteX4" fmla="*/ 649916 w 1749855"/>
                <a:gd name="connsiteY4" fmla="*/ 0 h 962065"/>
                <a:gd name="connsiteX0" fmla="*/ 1716443 w 1749582"/>
                <a:gd name="connsiteY0" fmla="*/ 857250 h 962065"/>
                <a:gd name="connsiteX1" fmla="*/ 1595793 w 1749582"/>
                <a:gd name="connsiteY1" fmla="*/ 962025 h 962065"/>
                <a:gd name="connsiteX2" fmla="*/ 16231 w 1749582"/>
                <a:gd name="connsiteY2" fmla="*/ 845344 h 962065"/>
                <a:gd name="connsiteX3" fmla="*/ 609161 w 1749582"/>
                <a:gd name="connsiteY3" fmla="*/ 359568 h 962065"/>
                <a:gd name="connsiteX4" fmla="*/ 649643 w 1749582"/>
                <a:gd name="connsiteY4" fmla="*/ 0 h 962065"/>
                <a:gd name="connsiteX0" fmla="*/ 1702509 w 1735648"/>
                <a:gd name="connsiteY0" fmla="*/ 857250 h 962065"/>
                <a:gd name="connsiteX1" fmla="*/ 1581859 w 1735648"/>
                <a:gd name="connsiteY1" fmla="*/ 962025 h 962065"/>
                <a:gd name="connsiteX2" fmla="*/ 2297 w 1735648"/>
                <a:gd name="connsiteY2" fmla="*/ 845344 h 962065"/>
                <a:gd name="connsiteX3" fmla="*/ 595227 w 1735648"/>
                <a:gd name="connsiteY3" fmla="*/ 359568 h 962065"/>
                <a:gd name="connsiteX4" fmla="*/ 635709 w 1735648"/>
                <a:gd name="connsiteY4" fmla="*/ 0 h 962065"/>
                <a:gd name="connsiteX0" fmla="*/ 1702509 w 1735648"/>
                <a:gd name="connsiteY0" fmla="*/ 857250 h 962065"/>
                <a:gd name="connsiteX1" fmla="*/ 1581859 w 1735648"/>
                <a:gd name="connsiteY1" fmla="*/ 962025 h 962065"/>
                <a:gd name="connsiteX2" fmla="*/ 2297 w 1735648"/>
                <a:gd name="connsiteY2" fmla="*/ 845344 h 962065"/>
                <a:gd name="connsiteX3" fmla="*/ 595227 w 1735648"/>
                <a:gd name="connsiteY3" fmla="*/ 359568 h 962065"/>
                <a:gd name="connsiteX4" fmla="*/ 635709 w 1735648"/>
                <a:gd name="connsiteY4" fmla="*/ 0 h 962065"/>
                <a:gd name="connsiteX0" fmla="*/ 1681171 w 1712815"/>
                <a:gd name="connsiteY0" fmla="*/ 857250 h 962209"/>
                <a:gd name="connsiteX1" fmla="*/ 1560521 w 1712815"/>
                <a:gd name="connsiteY1" fmla="*/ 962025 h 962209"/>
                <a:gd name="connsiteX2" fmla="*/ 2390 w 1712815"/>
                <a:gd name="connsiteY2" fmla="*/ 831056 h 962209"/>
                <a:gd name="connsiteX3" fmla="*/ 573889 w 1712815"/>
                <a:gd name="connsiteY3" fmla="*/ 359568 h 962209"/>
                <a:gd name="connsiteX4" fmla="*/ 614371 w 1712815"/>
                <a:gd name="connsiteY4" fmla="*/ 0 h 962209"/>
                <a:gd name="connsiteX0" fmla="*/ 1681171 w 1712815"/>
                <a:gd name="connsiteY0" fmla="*/ 857250 h 962209"/>
                <a:gd name="connsiteX1" fmla="*/ 1560521 w 1712815"/>
                <a:gd name="connsiteY1" fmla="*/ 962025 h 962209"/>
                <a:gd name="connsiteX2" fmla="*/ 2390 w 1712815"/>
                <a:gd name="connsiteY2" fmla="*/ 831056 h 962209"/>
                <a:gd name="connsiteX3" fmla="*/ 573889 w 1712815"/>
                <a:gd name="connsiteY3" fmla="*/ 359568 h 962209"/>
                <a:gd name="connsiteX4" fmla="*/ 614371 w 1712815"/>
                <a:gd name="connsiteY4" fmla="*/ 0 h 962209"/>
                <a:gd name="connsiteX0" fmla="*/ 1681235 w 1712879"/>
                <a:gd name="connsiteY0" fmla="*/ 857250 h 962209"/>
                <a:gd name="connsiteX1" fmla="*/ 1560585 w 1712879"/>
                <a:gd name="connsiteY1" fmla="*/ 962025 h 962209"/>
                <a:gd name="connsiteX2" fmla="*/ 2454 w 1712879"/>
                <a:gd name="connsiteY2" fmla="*/ 831056 h 962209"/>
                <a:gd name="connsiteX3" fmla="*/ 573953 w 1712879"/>
                <a:gd name="connsiteY3" fmla="*/ 359568 h 962209"/>
                <a:gd name="connsiteX4" fmla="*/ 614435 w 1712879"/>
                <a:gd name="connsiteY4" fmla="*/ 0 h 962209"/>
                <a:gd name="connsiteX0" fmla="*/ 1678781 w 1710425"/>
                <a:gd name="connsiteY0" fmla="*/ 857250 h 962209"/>
                <a:gd name="connsiteX1" fmla="*/ 1558131 w 1710425"/>
                <a:gd name="connsiteY1" fmla="*/ 962025 h 962209"/>
                <a:gd name="connsiteX2" fmla="*/ 0 w 1710425"/>
                <a:gd name="connsiteY2" fmla="*/ 831056 h 962209"/>
                <a:gd name="connsiteX3" fmla="*/ 571499 w 1710425"/>
                <a:gd name="connsiteY3" fmla="*/ 359568 h 962209"/>
                <a:gd name="connsiteX4" fmla="*/ 611981 w 1710425"/>
                <a:gd name="connsiteY4" fmla="*/ 0 h 962209"/>
                <a:gd name="connsiteX0" fmla="*/ 1678781 w 1710425"/>
                <a:gd name="connsiteY0" fmla="*/ 857250 h 962209"/>
                <a:gd name="connsiteX1" fmla="*/ 1558131 w 1710425"/>
                <a:gd name="connsiteY1" fmla="*/ 962025 h 962209"/>
                <a:gd name="connsiteX2" fmla="*/ 0 w 1710425"/>
                <a:gd name="connsiteY2" fmla="*/ 831056 h 962209"/>
                <a:gd name="connsiteX3" fmla="*/ 571499 w 1710425"/>
                <a:gd name="connsiteY3" fmla="*/ 359568 h 962209"/>
                <a:gd name="connsiteX4" fmla="*/ 611981 w 1710425"/>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695450 w 1728256"/>
                <a:gd name="connsiteY0" fmla="*/ 857250 h 962278"/>
                <a:gd name="connsiteX1" fmla="*/ 1574800 w 1728256"/>
                <a:gd name="connsiteY1" fmla="*/ 962025 h 962278"/>
                <a:gd name="connsiteX2" fmla="*/ 0 w 1728256"/>
                <a:gd name="connsiteY2" fmla="*/ 826293 h 962278"/>
                <a:gd name="connsiteX3" fmla="*/ 588168 w 1728256"/>
                <a:gd name="connsiteY3" fmla="*/ 359568 h 962278"/>
                <a:gd name="connsiteX4" fmla="*/ 628650 w 1728256"/>
                <a:gd name="connsiteY4" fmla="*/ 0 h 962278"/>
                <a:gd name="connsiteX0" fmla="*/ 1696407 w 1729213"/>
                <a:gd name="connsiteY0" fmla="*/ 857250 h 962278"/>
                <a:gd name="connsiteX1" fmla="*/ 1575757 w 1729213"/>
                <a:gd name="connsiteY1" fmla="*/ 962025 h 962278"/>
                <a:gd name="connsiteX2" fmla="*/ 957 w 1729213"/>
                <a:gd name="connsiteY2" fmla="*/ 826293 h 962278"/>
                <a:gd name="connsiteX3" fmla="*/ 589125 w 1729213"/>
                <a:gd name="connsiteY3" fmla="*/ 359568 h 962278"/>
                <a:gd name="connsiteX4" fmla="*/ 629607 w 1729213"/>
                <a:gd name="connsiteY4" fmla="*/ 0 h 962278"/>
                <a:gd name="connsiteX0" fmla="*/ 1715446 w 1749584"/>
                <a:gd name="connsiteY0" fmla="*/ 857250 h 962178"/>
                <a:gd name="connsiteX1" fmla="*/ 1594796 w 1749584"/>
                <a:gd name="connsiteY1" fmla="*/ 962025 h 962178"/>
                <a:gd name="connsiteX2" fmla="*/ 946 w 1749584"/>
                <a:gd name="connsiteY2" fmla="*/ 833436 h 962178"/>
                <a:gd name="connsiteX3" fmla="*/ 608164 w 1749584"/>
                <a:gd name="connsiteY3" fmla="*/ 359568 h 962178"/>
                <a:gd name="connsiteX4" fmla="*/ 648646 w 1749584"/>
                <a:gd name="connsiteY4" fmla="*/ 0 h 962178"/>
                <a:gd name="connsiteX0" fmla="*/ 1737332 w 1754060"/>
                <a:gd name="connsiteY0" fmla="*/ 857250 h 962031"/>
                <a:gd name="connsiteX1" fmla="*/ 1616682 w 1754060"/>
                <a:gd name="connsiteY1" fmla="*/ 962025 h 962031"/>
                <a:gd name="connsiteX2" fmla="*/ 275392 w 1754060"/>
                <a:gd name="connsiteY2" fmla="*/ 862217 h 962031"/>
                <a:gd name="connsiteX3" fmla="*/ 22832 w 1754060"/>
                <a:gd name="connsiteY3" fmla="*/ 833436 h 962031"/>
                <a:gd name="connsiteX4" fmla="*/ 630050 w 1754060"/>
                <a:gd name="connsiteY4" fmla="*/ 359568 h 962031"/>
                <a:gd name="connsiteX5" fmla="*/ 670532 w 1754060"/>
                <a:gd name="connsiteY5" fmla="*/ 0 h 962031"/>
                <a:gd name="connsiteX0" fmla="*/ 1730806 w 1747534"/>
                <a:gd name="connsiteY0" fmla="*/ 857250 h 962031"/>
                <a:gd name="connsiteX1" fmla="*/ 1610156 w 1747534"/>
                <a:gd name="connsiteY1" fmla="*/ 962025 h 962031"/>
                <a:gd name="connsiteX2" fmla="*/ 268866 w 1747534"/>
                <a:gd name="connsiteY2" fmla="*/ 862217 h 962031"/>
                <a:gd name="connsiteX3" fmla="*/ 16306 w 1747534"/>
                <a:gd name="connsiteY3" fmla="*/ 833436 h 962031"/>
                <a:gd name="connsiteX4" fmla="*/ 623524 w 1747534"/>
                <a:gd name="connsiteY4" fmla="*/ 359568 h 962031"/>
                <a:gd name="connsiteX5" fmla="*/ 664006 w 1747534"/>
                <a:gd name="connsiteY5" fmla="*/ 0 h 962031"/>
                <a:gd name="connsiteX0" fmla="*/ 1676823 w 1693551"/>
                <a:gd name="connsiteY0" fmla="*/ 857250 h 962031"/>
                <a:gd name="connsiteX1" fmla="*/ 1556173 w 1693551"/>
                <a:gd name="connsiteY1" fmla="*/ 962025 h 962031"/>
                <a:gd name="connsiteX2" fmla="*/ 214883 w 1693551"/>
                <a:gd name="connsiteY2" fmla="*/ 862217 h 962031"/>
                <a:gd name="connsiteX3" fmla="*/ 24235 w 1693551"/>
                <a:gd name="connsiteY3" fmla="*/ 781049 h 962031"/>
                <a:gd name="connsiteX4" fmla="*/ 569541 w 1693551"/>
                <a:gd name="connsiteY4" fmla="*/ 359568 h 962031"/>
                <a:gd name="connsiteX5" fmla="*/ 610023 w 1693551"/>
                <a:gd name="connsiteY5"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8445 w 1701973"/>
                <a:gd name="connsiteY5"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20975 w 1701973"/>
                <a:gd name="connsiteY5" fmla="*/ 164512 h 962031"/>
                <a:gd name="connsiteX6" fmla="*/ 618445 w 1701973"/>
                <a:gd name="connsiteY6" fmla="*/ 0 h 962031"/>
                <a:gd name="connsiteX0" fmla="*/ 1685245 w 1685245"/>
                <a:gd name="connsiteY0" fmla="*/ 857250 h 959650"/>
                <a:gd name="connsiteX1" fmla="*/ 1457439 w 1685245"/>
                <a:gd name="connsiteY1" fmla="*/ 959644 h 959650"/>
                <a:gd name="connsiteX2" fmla="*/ 223305 w 1685245"/>
                <a:gd name="connsiteY2" fmla="*/ 862217 h 959650"/>
                <a:gd name="connsiteX3" fmla="*/ 32657 w 1685245"/>
                <a:gd name="connsiteY3" fmla="*/ 781049 h 959650"/>
                <a:gd name="connsiteX4" fmla="*/ 577963 w 1685245"/>
                <a:gd name="connsiteY4" fmla="*/ 359568 h 959650"/>
                <a:gd name="connsiteX5" fmla="*/ 620975 w 1685245"/>
                <a:gd name="connsiteY5" fmla="*/ 164512 h 959650"/>
                <a:gd name="connsiteX6" fmla="*/ 618445 w 1685245"/>
                <a:gd name="connsiteY6" fmla="*/ 0 h 959650"/>
                <a:gd name="connsiteX0" fmla="*/ 1685245 w 1685245"/>
                <a:gd name="connsiteY0" fmla="*/ 857250 h 961822"/>
                <a:gd name="connsiteX1" fmla="*/ 1616337 w 1685245"/>
                <a:gd name="connsiteY1" fmla="*/ 924131 h 961822"/>
                <a:gd name="connsiteX2" fmla="*/ 1457439 w 1685245"/>
                <a:gd name="connsiteY2" fmla="*/ 959644 h 961822"/>
                <a:gd name="connsiteX3" fmla="*/ 223305 w 1685245"/>
                <a:gd name="connsiteY3" fmla="*/ 862217 h 961822"/>
                <a:gd name="connsiteX4" fmla="*/ 32657 w 1685245"/>
                <a:gd name="connsiteY4" fmla="*/ 781049 h 961822"/>
                <a:gd name="connsiteX5" fmla="*/ 577963 w 1685245"/>
                <a:gd name="connsiteY5" fmla="*/ 359568 h 961822"/>
                <a:gd name="connsiteX6" fmla="*/ 620975 w 1685245"/>
                <a:gd name="connsiteY6" fmla="*/ 164512 h 961822"/>
                <a:gd name="connsiteX7" fmla="*/ 618445 w 1685245"/>
                <a:gd name="connsiteY7" fmla="*/ 0 h 961822"/>
                <a:gd name="connsiteX0" fmla="*/ 1685245 w 1685245"/>
                <a:gd name="connsiteY0" fmla="*/ 857250 h 953018"/>
                <a:gd name="connsiteX1" fmla="*/ 1616337 w 1685245"/>
                <a:gd name="connsiteY1" fmla="*/ 924131 h 953018"/>
                <a:gd name="connsiteX2" fmla="*/ 1414576 w 1685245"/>
                <a:gd name="connsiteY2" fmla="*/ 950119 h 953018"/>
                <a:gd name="connsiteX3" fmla="*/ 223305 w 1685245"/>
                <a:gd name="connsiteY3" fmla="*/ 862217 h 953018"/>
                <a:gd name="connsiteX4" fmla="*/ 32657 w 1685245"/>
                <a:gd name="connsiteY4" fmla="*/ 781049 h 953018"/>
                <a:gd name="connsiteX5" fmla="*/ 577963 w 1685245"/>
                <a:gd name="connsiteY5" fmla="*/ 359568 h 953018"/>
                <a:gd name="connsiteX6" fmla="*/ 620975 w 1685245"/>
                <a:gd name="connsiteY6" fmla="*/ 164512 h 953018"/>
                <a:gd name="connsiteX7" fmla="*/ 618445 w 1685245"/>
                <a:gd name="connsiteY7" fmla="*/ 0 h 953018"/>
                <a:gd name="connsiteX0" fmla="*/ 1685245 w 1685245"/>
                <a:gd name="connsiteY0" fmla="*/ 857250 h 956840"/>
                <a:gd name="connsiteX1" fmla="*/ 1616337 w 1685245"/>
                <a:gd name="connsiteY1" fmla="*/ 924131 h 956840"/>
                <a:gd name="connsiteX2" fmla="*/ 1414576 w 1685245"/>
                <a:gd name="connsiteY2" fmla="*/ 950119 h 956840"/>
                <a:gd name="connsiteX3" fmla="*/ 223305 w 1685245"/>
                <a:gd name="connsiteY3" fmla="*/ 862217 h 956840"/>
                <a:gd name="connsiteX4" fmla="*/ 32657 w 1685245"/>
                <a:gd name="connsiteY4" fmla="*/ 781049 h 956840"/>
                <a:gd name="connsiteX5" fmla="*/ 577963 w 1685245"/>
                <a:gd name="connsiteY5" fmla="*/ 359568 h 956840"/>
                <a:gd name="connsiteX6" fmla="*/ 620975 w 1685245"/>
                <a:gd name="connsiteY6" fmla="*/ 164512 h 956840"/>
                <a:gd name="connsiteX7" fmla="*/ 618445 w 1685245"/>
                <a:gd name="connsiteY7" fmla="*/ 0 h 956840"/>
                <a:gd name="connsiteX0" fmla="*/ 1685245 w 1685245"/>
                <a:gd name="connsiteY0" fmla="*/ 857250 h 958892"/>
                <a:gd name="connsiteX1" fmla="*/ 1616337 w 1685245"/>
                <a:gd name="connsiteY1" fmla="*/ 924131 h 958892"/>
                <a:gd name="connsiteX2" fmla="*/ 14193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4193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18594 w 1685245"/>
                <a:gd name="connsiteY6" fmla="*/ 178799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18445 w 1685245"/>
                <a:gd name="connsiteY6" fmla="*/ 0 h 958892"/>
                <a:gd name="connsiteX0" fmla="*/ 1685245 w 1685245"/>
                <a:gd name="connsiteY0" fmla="*/ 497682 h 599324"/>
                <a:gd name="connsiteX1" fmla="*/ 1616337 w 1685245"/>
                <a:gd name="connsiteY1" fmla="*/ 564563 h 599324"/>
                <a:gd name="connsiteX2" fmla="*/ 1381238 w 1685245"/>
                <a:gd name="connsiteY2" fmla="*/ 592932 h 599324"/>
                <a:gd name="connsiteX3" fmla="*/ 223305 w 1685245"/>
                <a:gd name="connsiteY3" fmla="*/ 502649 h 599324"/>
                <a:gd name="connsiteX4" fmla="*/ 32657 w 1685245"/>
                <a:gd name="connsiteY4" fmla="*/ 421481 h 599324"/>
                <a:gd name="connsiteX5" fmla="*/ 577963 w 1685245"/>
                <a:gd name="connsiteY5" fmla="*/ 0 h 599324"/>
                <a:gd name="connsiteX0" fmla="*/ 1660892 w 1660892"/>
                <a:gd name="connsiteY0" fmla="*/ 497682 h 592932"/>
                <a:gd name="connsiteX1" fmla="*/ 1591984 w 1660892"/>
                <a:gd name="connsiteY1" fmla="*/ 564563 h 592932"/>
                <a:gd name="connsiteX2" fmla="*/ 1356885 w 1660892"/>
                <a:gd name="connsiteY2" fmla="*/ 592932 h 592932"/>
                <a:gd name="connsiteX3" fmla="*/ 1020483 w 1660892"/>
                <a:gd name="connsiteY3" fmla="*/ 564561 h 592932"/>
                <a:gd name="connsiteX4" fmla="*/ 8304 w 1660892"/>
                <a:gd name="connsiteY4" fmla="*/ 421481 h 592932"/>
                <a:gd name="connsiteX5" fmla="*/ 553610 w 1660892"/>
                <a:gd name="connsiteY5" fmla="*/ 0 h 592932"/>
                <a:gd name="connsiteX0" fmla="*/ 1143582 w 1143582"/>
                <a:gd name="connsiteY0" fmla="*/ 497682 h 592932"/>
                <a:gd name="connsiteX1" fmla="*/ 1074674 w 1143582"/>
                <a:gd name="connsiteY1" fmla="*/ 564563 h 592932"/>
                <a:gd name="connsiteX2" fmla="*/ 839575 w 1143582"/>
                <a:gd name="connsiteY2" fmla="*/ 592932 h 592932"/>
                <a:gd name="connsiteX3" fmla="*/ 503173 w 1143582"/>
                <a:gd name="connsiteY3" fmla="*/ 564561 h 592932"/>
                <a:gd name="connsiteX4" fmla="*/ 245850 w 1143582"/>
                <a:gd name="connsiteY4" fmla="*/ 483394 h 592932"/>
                <a:gd name="connsiteX5" fmla="*/ 36300 w 1143582"/>
                <a:gd name="connsiteY5" fmla="*/ 0 h 592932"/>
                <a:gd name="connsiteX0" fmla="*/ 927557 w 927557"/>
                <a:gd name="connsiteY0" fmla="*/ 59532 h 154782"/>
                <a:gd name="connsiteX1" fmla="*/ 858649 w 927557"/>
                <a:gd name="connsiteY1" fmla="*/ 126413 h 154782"/>
                <a:gd name="connsiteX2" fmla="*/ 623550 w 927557"/>
                <a:gd name="connsiteY2" fmla="*/ 154782 h 154782"/>
                <a:gd name="connsiteX3" fmla="*/ 287148 w 927557"/>
                <a:gd name="connsiteY3" fmla="*/ 126411 h 154782"/>
                <a:gd name="connsiteX4" fmla="*/ 29825 w 927557"/>
                <a:gd name="connsiteY4" fmla="*/ 45244 h 154782"/>
                <a:gd name="connsiteX5" fmla="*/ 94119 w 927557"/>
                <a:gd name="connsiteY5" fmla="*/ 0 h 154782"/>
                <a:gd name="connsiteX0" fmla="*/ 927557 w 927557"/>
                <a:gd name="connsiteY0" fmla="*/ 59532 h 154782"/>
                <a:gd name="connsiteX1" fmla="*/ 858649 w 927557"/>
                <a:gd name="connsiteY1" fmla="*/ 126413 h 154782"/>
                <a:gd name="connsiteX2" fmla="*/ 623550 w 927557"/>
                <a:gd name="connsiteY2" fmla="*/ 154782 h 154782"/>
                <a:gd name="connsiteX3" fmla="*/ 287148 w 927557"/>
                <a:gd name="connsiteY3" fmla="*/ 126411 h 154782"/>
                <a:gd name="connsiteX4" fmla="*/ 29825 w 927557"/>
                <a:gd name="connsiteY4" fmla="*/ 45244 h 154782"/>
                <a:gd name="connsiteX5" fmla="*/ 94119 w 927557"/>
                <a:gd name="connsiteY5" fmla="*/ 0 h 154782"/>
                <a:gd name="connsiteX0" fmla="*/ 928869 w 928869"/>
                <a:gd name="connsiteY0" fmla="*/ 59532 h 154782"/>
                <a:gd name="connsiteX1" fmla="*/ 859961 w 928869"/>
                <a:gd name="connsiteY1" fmla="*/ 126413 h 154782"/>
                <a:gd name="connsiteX2" fmla="*/ 624862 w 928869"/>
                <a:gd name="connsiteY2" fmla="*/ 154782 h 154782"/>
                <a:gd name="connsiteX3" fmla="*/ 288460 w 928869"/>
                <a:gd name="connsiteY3" fmla="*/ 126411 h 154782"/>
                <a:gd name="connsiteX4" fmla="*/ 31137 w 928869"/>
                <a:gd name="connsiteY4" fmla="*/ 45244 h 154782"/>
                <a:gd name="connsiteX5" fmla="*/ 95431 w 928869"/>
                <a:gd name="connsiteY5" fmla="*/ 0 h 154782"/>
                <a:gd name="connsiteX0" fmla="*/ 928869 w 928869"/>
                <a:gd name="connsiteY0" fmla="*/ 59532 h 154782"/>
                <a:gd name="connsiteX1" fmla="*/ 859961 w 928869"/>
                <a:gd name="connsiteY1" fmla="*/ 126413 h 154782"/>
                <a:gd name="connsiteX2" fmla="*/ 624862 w 928869"/>
                <a:gd name="connsiteY2" fmla="*/ 154782 h 154782"/>
                <a:gd name="connsiteX3" fmla="*/ 288460 w 928869"/>
                <a:gd name="connsiteY3" fmla="*/ 126411 h 154782"/>
                <a:gd name="connsiteX4" fmla="*/ 31137 w 928869"/>
                <a:gd name="connsiteY4" fmla="*/ 45244 h 154782"/>
                <a:gd name="connsiteX5" fmla="*/ 95431 w 928869"/>
                <a:gd name="connsiteY5" fmla="*/ 0 h 154782"/>
                <a:gd name="connsiteX0" fmla="*/ 928869 w 928869"/>
                <a:gd name="connsiteY0" fmla="*/ 59532 h 162179"/>
                <a:gd name="connsiteX1" fmla="*/ 859961 w 928869"/>
                <a:gd name="connsiteY1" fmla="*/ 126413 h 162179"/>
                <a:gd name="connsiteX2" fmla="*/ 624862 w 928869"/>
                <a:gd name="connsiteY2" fmla="*/ 154782 h 162179"/>
                <a:gd name="connsiteX3" fmla="*/ 288460 w 928869"/>
                <a:gd name="connsiteY3" fmla="*/ 126411 h 162179"/>
                <a:gd name="connsiteX4" fmla="*/ 31137 w 928869"/>
                <a:gd name="connsiteY4" fmla="*/ 45244 h 162179"/>
                <a:gd name="connsiteX5" fmla="*/ 95431 w 928869"/>
                <a:gd name="connsiteY5" fmla="*/ 0 h 162179"/>
                <a:gd name="connsiteX0" fmla="*/ 928869 w 928869"/>
                <a:gd name="connsiteY0" fmla="*/ 59532 h 164840"/>
                <a:gd name="connsiteX1" fmla="*/ 859961 w 928869"/>
                <a:gd name="connsiteY1" fmla="*/ 126413 h 164840"/>
                <a:gd name="connsiteX2" fmla="*/ 624862 w 928869"/>
                <a:gd name="connsiteY2" fmla="*/ 154782 h 164840"/>
                <a:gd name="connsiteX3" fmla="*/ 288460 w 928869"/>
                <a:gd name="connsiteY3" fmla="*/ 126411 h 164840"/>
                <a:gd name="connsiteX4" fmla="*/ 31137 w 928869"/>
                <a:gd name="connsiteY4" fmla="*/ 45244 h 164840"/>
                <a:gd name="connsiteX5" fmla="*/ 95431 w 928869"/>
                <a:gd name="connsiteY5" fmla="*/ 0 h 164840"/>
                <a:gd name="connsiteX0" fmla="*/ 928869 w 928869"/>
                <a:gd name="connsiteY0" fmla="*/ 59532 h 166155"/>
                <a:gd name="connsiteX1" fmla="*/ 859961 w 928869"/>
                <a:gd name="connsiteY1" fmla="*/ 126413 h 166155"/>
                <a:gd name="connsiteX2" fmla="*/ 691537 w 928869"/>
                <a:gd name="connsiteY2" fmla="*/ 157164 h 166155"/>
                <a:gd name="connsiteX3" fmla="*/ 288460 w 928869"/>
                <a:gd name="connsiteY3" fmla="*/ 126411 h 166155"/>
                <a:gd name="connsiteX4" fmla="*/ 31137 w 928869"/>
                <a:gd name="connsiteY4" fmla="*/ 45244 h 166155"/>
                <a:gd name="connsiteX5" fmla="*/ 95431 w 928869"/>
                <a:gd name="connsiteY5" fmla="*/ 0 h 166155"/>
                <a:gd name="connsiteX0" fmla="*/ 928869 w 928869"/>
                <a:gd name="connsiteY0" fmla="*/ 59532 h 162522"/>
                <a:gd name="connsiteX1" fmla="*/ 859961 w 928869"/>
                <a:gd name="connsiteY1" fmla="*/ 126413 h 162522"/>
                <a:gd name="connsiteX2" fmla="*/ 691537 w 928869"/>
                <a:gd name="connsiteY2" fmla="*/ 157164 h 162522"/>
                <a:gd name="connsiteX3" fmla="*/ 288460 w 928869"/>
                <a:gd name="connsiteY3" fmla="*/ 126411 h 162522"/>
                <a:gd name="connsiteX4" fmla="*/ 31137 w 928869"/>
                <a:gd name="connsiteY4" fmla="*/ 45244 h 162522"/>
                <a:gd name="connsiteX5" fmla="*/ 95431 w 928869"/>
                <a:gd name="connsiteY5" fmla="*/ 0 h 162522"/>
                <a:gd name="connsiteX0" fmla="*/ 919368 w 919368"/>
                <a:gd name="connsiteY0" fmla="*/ 59532 h 159830"/>
                <a:gd name="connsiteX1" fmla="*/ 850460 w 919368"/>
                <a:gd name="connsiteY1" fmla="*/ 126413 h 159830"/>
                <a:gd name="connsiteX2" fmla="*/ 682036 w 919368"/>
                <a:gd name="connsiteY2" fmla="*/ 157164 h 159830"/>
                <a:gd name="connsiteX3" fmla="*/ 155134 w 919368"/>
                <a:gd name="connsiteY3" fmla="*/ 121648 h 159830"/>
                <a:gd name="connsiteX4" fmla="*/ 21636 w 919368"/>
                <a:gd name="connsiteY4" fmla="*/ 45244 h 159830"/>
                <a:gd name="connsiteX5" fmla="*/ 85930 w 919368"/>
                <a:gd name="connsiteY5" fmla="*/ 0 h 159830"/>
                <a:gd name="connsiteX0" fmla="*/ 918286 w 918286"/>
                <a:gd name="connsiteY0" fmla="*/ 59532 h 159830"/>
                <a:gd name="connsiteX1" fmla="*/ 849378 w 918286"/>
                <a:gd name="connsiteY1" fmla="*/ 126413 h 159830"/>
                <a:gd name="connsiteX2" fmla="*/ 680954 w 918286"/>
                <a:gd name="connsiteY2" fmla="*/ 157164 h 159830"/>
                <a:gd name="connsiteX3" fmla="*/ 154052 w 918286"/>
                <a:gd name="connsiteY3" fmla="*/ 121648 h 159830"/>
                <a:gd name="connsiteX4" fmla="*/ 20554 w 918286"/>
                <a:gd name="connsiteY4" fmla="*/ 45244 h 159830"/>
                <a:gd name="connsiteX5" fmla="*/ 84848 w 918286"/>
                <a:gd name="connsiteY5" fmla="*/ 0 h 159830"/>
                <a:gd name="connsiteX0" fmla="*/ 915231 w 915231"/>
                <a:gd name="connsiteY0" fmla="*/ 59532 h 159830"/>
                <a:gd name="connsiteX1" fmla="*/ 846323 w 915231"/>
                <a:gd name="connsiteY1" fmla="*/ 126413 h 159830"/>
                <a:gd name="connsiteX2" fmla="*/ 677899 w 915231"/>
                <a:gd name="connsiteY2" fmla="*/ 157164 h 159830"/>
                <a:gd name="connsiteX3" fmla="*/ 150997 w 915231"/>
                <a:gd name="connsiteY3" fmla="*/ 121648 h 159830"/>
                <a:gd name="connsiteX4" fmla="*/ 22261 w 915231"/>
                <a:gd name="connsiteY4" fmla="*/ 59531 h 159830"/>
                <a:gd name="connsiteX5" fmla="*/ 81793 w 915231"/>
                <a:gd name="connsiteY5" fmla="*/ 0 h 159830"/>
                <a:gd name="connsiteX0" fmla="*/ 916746 w 916746"/>
                <a:gd name="connsiteY0" fmla="*/ 59532 h 159830"/>
                <a:gd name="connsiteX1" fmla="*/ 847838 w 916746"/>
                <a:gd name="connsiteY1" fmla="*/ 126413 h 159830"/>
                <a:gd name="connsiteX2" fmla="*/ 679414 w 916746"/>
                <a:gd name="connsiteY2" fmla="*/ 157164 h 159830"/>
                <a:gd name="connsiteX3" fmla="*/ 152512 w 916746"/>
                <a:gd name="connsiteY3" fmla="*/ 121648 h 159830"/>
                <a:gd name="connsiteX4" fmla="*/ 21395 w 916746"/>
                <a:gd name="connsiteY4" fmla="*/ 76199 h 159830"/>
                <a:gd name="connsiteX5" fmla="*/ 83308 w 916746"/>
                <a:gd name="connsiteY5" fmla="*/ 0 h 159830"/>
                <a:gd name="connsiteX0" fmla="*/ 917675 w 917675"/>
                <a:gd name="connsiteY0" fmla="*/ 59532 h 159830"/>
                <a:gd name="connsiteX1" fmla="*/ 848767 w 917675"/>
                <a:gd name="connsiteY1" fmla="*/ 126413 h 159830"/>
                <a:gd name="connsiteX2" fmla="*/ 680343 w 917675"/>
                <a:gd name="connsiteY2" fmla="*/ 157164 h 159830"/>
                <a:gd name="connsiteX3" fmla="*/ 153441 w 917675"/>
                <a:gd name="connsiteY3" fmla="*/ 121648 h 159830"/>
                <a:gd name="connsiteX4" fmla="*/ 22324 w 917675"/>
                <a:gd name="connsiteY4" fmla="*/ 76199 h 159830"/>
                <a:gd name="connsiteX5" fmla="*/ 84237 w 917675"/>
                <a:gd name="connsiteY5" fmla="*/ 0 h 159830"/>
                <a:gd name="connsiteX0" fmla="*/ 917675 w 917675"/>
                <a:gd name="connsiteY0" fmla="*/ 59609 h 159907"/>
                <a:gd name="connsiteX1" fmla="*/ 848767 w 917675"/>
                <a:gd name="connsiteY1" fmla="*/ 126490 h 159907"/>
                <a:gd name="connsiteX2" fmla="*/ 680343 w 917675"/>
                <a:gd name="connsiteY2" fmla="*/ 157241 h 159907"/>
                <a:gd name="connsiteX3" fmla="*/ 153441 w 917675"/>
                <a:gd name="connsiteY3" fmla="*/ 121725 h 159907"/>
                <a:gd name="connsiteX4" fmla="*/ 22324 w 917675"/>
                <a:gd name="connsiteY4" fmla="*/ 76276 h 159907"/>
                <a:gd name="connsiteX5" fmla="*/ 84237 w 917675"/>
                <a:gd name="connsiteY5" fmla="*/ 77 h 159907"/>
                <a:gd name="connsiteX0" fmla="*/ 902981 w 902981"/>
                <a:gd name="connsiteY0" fmla="*/ 28664 h 128962"/>
                <a:gd name="connsiteX1" fmla="*/ 834073 w 902981"/>
                <a:gd name="connsiteY1" fmla="*/ 95545 h 128962"/>
                <a:gd name="connsiteX2" fmla="*/ 665649 w 902981"/>
                <a:gd name="connsiteY2" fmla="*/ 126296 h 128962"/>
                <a:gd name="connsiteX3" fmla="*/ 138747 w 902981"/>
                <a:gd name="connsiteY3" fmla="*/ 90780 h 128962"/>
                <a:gd name="connsiteX4" fmla="*/ 7630 w 902981"/>
                <a:gd name="connsiteY4" fmla="*/ 45331 h 128962"/>
                <a:gd name="connsiteX5" fmla="*/ 57637 w 902981"/>
                <a:gd name="connsiteY5" fmla="*/ 88 h 128962"/>
                <a:gd name="connsiteX0" fmla="*/ 903972 w 903972"/>
                <a:gd name="connsiteY0" fmla="*/ 57202 h 157500"/>
                <a:gd name="connsiteX1" fmla="*/ 835064 w 903972"/>
                <a:gd name="connsiteY1" fmla="*/ 124083 h 157500"/>
                <a:gd name="connsiteX2" fmla="*/ 666640 w 903972"/>
                <a:gd name="connsiteY2" fmla="*/ 154834 h 157500"/>
                <a:gd name="connsiteX3" fmla="*/ 139738 w 903972"/>
                <a:gd name="connsiteY3" fmla="*/ 119318 h 157500"/>
                <a:gd name="connsiteX4" fmla="*/ 8621 w 903972"/>
                <a:gd name="connsiteY4" fmla="*/ 73869 h 157500"/>
                <a:gd name="connsiteX5" fmla="*/ 72915 w 903972"/>
                <a:gd name="connsiteY5" fmla="*/ 51 h 157500"/>
                <a:gd name="connsiteX0" fmla="*/ 914093 w 914093"/>
                <a:gd name="connsiteY0" fmla="*/ 57204 h 157502"/>
                <a:gd name="connsiteX1" fmla="*/ 845185 w 914093"/>
                <a:gd name="connsiteY1" fmla="*/ 124085 h 157502"/>
                <a:gd name="connsiteX2" fmla="*/ 676761 w 914093"/>
                <a:gd name="connsiteY2" fmla="*/ 154836 h 157502"/>
                <a:gd name="connsiteX3" fmla="*/ 149859 w 914093"/>
                <a:gd name="connsiteY3" fmla="*/ 119320 h 157502"/>
                <a:gd name="connsiteX4" fmla="*/ 18742 w 914093"/>
                <a:gd name="connsiteY4" fmla="*/ 73871 h 157502"/>
                <a:gd name="connsiteX5" fmla="*/ 83036 w 914093"/>
                <a:gd name="connsiteY5" fmla="*/ 53 h 157502"/>
                <a:gd name="connsiteX0" fmla="*/ 923611 w 923611"/>
                <a:gd name="connsiteY0" fmla="*/ 57204 h 157502"/>
                <a:gd name="connsiteX1" fmla="*/ 854703 w 923611"/>
                <a:gd name="connsiteY1" fmla="*/ 124085 h 157502"/>
                <a:gd name="connsiteX2" fmla="*/ 686279 w 923611"/>
                <a:gd name="connsiteY2" fmla="*/ 154836 h 157502"/>
                <a:gd name="connsiteX3" fmla="*/ 159377 w 923611"/>
                <a:gd name="connsiteY3" fmla="*/ 119320 h 157502"/>
                <a:gd name="connsiteX4" fmla="*/ 13972 w 923611"/>
                <a:gd name="connsiteY4" fmla="*/ 73871 h 157502"/>
                <a:gd name="connsiteX5" fmla="*/ 92554 w 923611"/>
                <a:gd name="connsiteY5" fmla="*/ 53 h 157502"/>
                <a:gd name="connsiteX0" fmla="*/ 910855 w 910855"/>
                <a:gd name="connsiteY0" fmla="*/ 57203 h 157674"/>
                <a:gd name="connsiteX1" fmla="*/ 841947 w 910855"/>
                <a:gd name="connsiteY1" fmla="*/ 124084 h 157674"/>
                <a:gd name="connsiteX2" fmla="*/ 673523 w 910855"/>
                <a:gd name="connsiteY2" fmla="*/ 154835 h 157674"/>
                <a:gd name="connsiteX3" fmla="*/ 153764 w 910855"/>
                <a:gd name="connsiteY3" fmla="*/ 116938 h 157674"/>
                <a:gd name="connsiteX4" fmla="*/ 1216 w 910855"/>
                <a:gd name="connsiteY4" fmla="*/ 73870 h 157674"/>
                <a:gd name="connsiteX5" fmla="*/ 79798 w 910855"/>
                <a:gd name="connsiteY5" fmla="*/ 52 h 157674"/>
                <a:gd name="connsiteX0" fmla="*/ 919840 w 919840"/>
                <a:gd name="connsiteY0" fmla="*/ 57204 h 157675"/>
                <a:gd name="connsiteX1" fmla="*/ 850932 w 919840"/>
                <a:gd name="connsiteY1" fmla="*/ 124085 h 157675"/>
                <a:gd name="connsiteX2" fmla="*/ 682508 w 919840"/>
                <a:gd name="connsiteY2" fmla="*/ 154836 h 157675"/>
                <a:gd name="connsiteX3" fmla="*/ 162749 w 919840"/>
                <a:gd name="connsiteY3" fmla="*/ 116939 h 157675"/>
                <a:gd name="connsiteX4" fmla="*/ 10201 w 919840"/>
                <a:gd name="connsiteY4" fmla="*/ 73871 h 157675"/>
                <a:gd name="connsiteX5" fmla="*/ 88783 w 919840"/>
                <a:gd name="connsiteY5" fmla="*/ 53 h 157675"/>
                <a:gd name="connsiteX0" fmla="*/ 922773 w 922773"/>
                <a:gd name="connsiteY0" fmla="*/ 57218 h 157689"/>
                <a:gd name="connsiteX1" fmla="*/ 853865 w 922773"/>
                <a:gd name="connsiteY1" fmla="*/ 124099 h 157689"/>
                <a:gd name="connsiteX2" fmla="*/ 685441 w 922773"/>
                <a:gd name="connsiteY2" fmla="*/ 154850 h 157689"/>
                <a:gd name="connsiteX3" fmla="*/ 165682 w 922773"/>
                <a:gd name="connsiteY3" fmla="*/ 116953 h 157689"/>
                <a:gd name="connsiteX4" fmla="*/ 13134 w 922773"/>
                <a:gd name="connsiteY4" fmla="*/ 73885 h 157689"/>
                <a:gd name="connsiteX5" fmla="*/ 91716 w 922773"/>
                <a:gd name="connsiteY5" fmla="*/ 67 h 157689"/>
                <a:gd name="connsiteX0" fmla="*/ 911192 w 911192"/>
                <a:gd name="connsiteY0" fmla="*/ 57237 h 157708"/>
                <a:gd name="connsiteX1" fmla="*/ 842284 w 911192"/>
                <a:gd name="connsiteY1" fmla="*/ 124118 h 157708"/>
                <a:gd name="connsiteX2" fmla="*/ 673860 w 911192"/>
                <a:gd name="connsiteY2" fmla="*/ 154869 h 157708"/>
                <a:gd name="connsiteX3" fmla="*/ 154101 w 911192"/>
                <a:gd name="connsiteY3" fmla="*/ 116972 h 157708"/>
                <a:gd name="connsiteX4" fmla="*/ 18222 w 911192"/>
                <a:gd name="connsiteY4" fmla="*/ 64379 h 157708"/>
                <a:gd name="connsiteX5" fmla="*/ 80135 w 911192"/>
                <a:gd name="connsiteY5" fmla="*/ 86 h 157708"/>
                <a:gd name="connsiteX0" fmla="*/ 915339 w 915339"/>
                <a:gd name="connsiteY0" fmla="*/ 57239 h 157710"/>
                <a:gd name="connsiteX1" fmla="*/ 846431 w 915339"/>
                <a:gd name="connsiteY1" fmla="*/ 124120 h 157710"/>
                <a:gd name="connsiteX2" fmla="*/ 678007 w 915339"/>
                <a:gd name="connsiteY2" fmla="*/ 154871 h 157710"/>
                <a:gd name="connsiteX3" fmla="*/ 158248 w 915339"/>
                <a:gd name="connsiteY3" fmla="*/ 116974 h 157710"/>
                <a:gd name="connsiteX4" fmla="*/ 22369 w 915339"/>
                <a:gd name="connsiteY4" fmla="*/ 64381 h 157710"/>
                <a:gd name="connsiteX5" fmla="*/ 84282 w 915339"/>
                <a:gd name="connsiteY5" fmla="*/ 88 h 157710"/>
                <a:gd name="connsiteX0" fmla="*/ 901952 w 901952"/>
                <a:gd name="connsiteY0" fmla="*/ 57384 h 157855"/>
                <a:gd name="connsiteX1" fmla="*/ 833044 w 901952"/>
                <a:gd name="connsiteY1" fmla="*/ 124265 h 157855"/>
                <a:gd name="connsiteX2" fmla="*/ 664620 w 901952"/>
                <a:gd name="connsiteY2" fmla="*/ 155016 h 157855"/>
                <a:gd name="connsiteX3" fmla="*/ 144861 w 901952"/>
                <a:gd name="connsiteY3" fmla="*/ 117119 h 157855"/>
                <a:gd name="connsiteX4" fmla="*/ 30413 w 901952"/>
                <a:gd name="connsiteY4" fmla="*/ 43095 h 157855"/>
                <a:gd name="connsiteX5" fmla="*/ 70895 w 901952"/>
                <a:gd name="connsiteY5" fmla="*/ 233 h 157855"/>
                <a:gd name="connsiteX0" fmla="*/ 904773 w 904773"/>
                <a:gd name="connsiteY0" fmla="*/ 57350 h 157821"/>
                <a:gd name="connsiteX1" fmla="*/ 835865 w 904773"/>
                <a:gd name="connsiteY1" fmla="*/ 124231 h 157821"/>
                <a:gd name="connsiteX2" fmla="*/ 667441 w 904773"/>
                <a:gd name="connsiteY2" fmla="*/ 154982 h 157821"/>
                <a:gd name="connsiteX3" fmla="*/ 147682 w 904773"/>
                <a:gd name="connsiteY3" fmla="*/ 117085 h 157821"/>
                <a:gd name="connsiteX4" fmla="*/ 28471 w 904773"/>
                <a:gd name="connsiteY4" fmla="*/ 45442 h 157821"/>
                <a:gd name="connsiteX5" fmla="*/ 73716 w 904773"/>
                <a:gd name="connsiteY5" fmla="*/ 199 h 157821"/>
                <a:gd name="connsiteX0" fmla="*/ 904773 w 904773"/>
                <a:gd name="connsiteY0" fmla="*/ 57350 h 159991"/>
                <a:gd name="connsiteX1" fmla="*/ 850153 w 904773"/>
                <a:gd name="connsiteY1" fmla="*/ 128994 h 159991"/>
                <a:gd name="connsiteX2" fmla="*/ 667441 w 904773"/>
                <a:gd name="connsiteY2" fmla="*/ 154982 h 159991"/>
                <a:gd name="connsiteX3" fmla="*/ 147682 w 904773"/>
                <a:gd name="connsiteY3" fmla="*/ 117085 h 159991"/>
                <a:gd name="connsiteX4" fmla="*/ 28471 w 904773"/>
                <a:gd name="connsiteY4" fmla="*/ 45442 h 159991"/>
                <a:gd name="connsiteX5" fmla="*/ 73716 w 904773"/>
                <a:gd name="connsiteY5" fmla="*/ 199 h 159991"/>
                <a:gd name="connsiteX0" fmla="*/ 891251 w 891251"/>
                <a:gd name="connsiteY0" fmla="*/ 57252 h 159893"/>
                <a:gd name="connsiteX1" fmla="*/ 836631 w 891251"/>
                <a:gd name="connsiteY1" fmla="*/ 128896 h 159893"/>
                <a:gd name="connsiteX2" fmla="*/ 653919 w 891251"/>
                <a:gd name="connsiteY2" fmla="*/ 154884 h 159893"/>
                <a:gd name="connsiteX3" fmla="*/ 130985 w 891251"/>
                <a:gd name="connsiteY3" fmla="*/ 116987 h 159893"/>
                <a:gd name="connsiteX4" fmla="*/ 14949 w 891251"/>
                <a:gd name="connsiteY4" fmla="*/ 45344 h 159893"/>
                <a:gd name="connsiteX5" fmla="*/ 60194 w 891251"/>
                <a:gd name="connsiteY5" fmla="*/ 101 h 159893"/>
                <a:gd name="connsiteX0" fmla="*/ 878053 w 878053"/>
                <a:gd name="connsiteY0" fmla="*/ 57252 h 159893"/>
                <a:gd name="connsiteX1" fmla="*/ 823433 w 878053"/>
                <a:gd name="connsiteY1" fmla="*/ 128896 h 159893"/>
                <a:gd name="connsiteX2" fmla="*/ 640721 w 878053"/>
                <a:gd name="connsiteY2" fmla="*/ 154884 h 159893"/>
                <a:gd name="connsiteX3" fmla="*/ 117787 w 878053"/>
                <a:gd name="connsiteY3" fmla="*/ 116987 h 159893"/>
                <a:gd name="connsiteX4" fmla="*/ 1751 w 878053"/>
                <a:gd name="connsiteY4" fmla="*/ 45344 h 159893"/>
                <a:gd name="connsiteX5" fmla="*/ 46996 w 878053"/>
                <a:gd name="connsiteY5" fmla="*/ 101 h 159893"/>
                <a:gd name="connsiteX0" fmla="*/ 881139 w 881139"/>
                <a:gd name="connsiteY0" fmla="*/ 57228 h 159869"/>
                <a:gd name="connsiteX1" fmla="*/ 826519 w 881139"/>
                <a:gd name="connsiteY1" fmla="*/ 128872 h 159869"/>
                <a:gd name="connsiteX2" fmla="*/ 643807 w 881139"/>
                <a:gd name="connsiteY2" fmla="*/ 154860 h 159869"/>
                <a:gd name="connsiteX3" fmla="*/ 120873 w 881139"/>
                <a:gd name="connsiteY3" fmla="*/ 116963 h 159869"/>
                <a:gd name="connsiteX4" fmla="*/ 1662 w 881139"/>
                <a:gd name="connsiteY4" fmla="*/ 54845 h 159869"/>
                <a:gd name="connsiteX5" fmla="*/ 50082 w 881139"/>
                <a:gd name="connsiteY5" fmla="*/ 77 h 159869"/>
                <a:gd name="connsiteX0" fmla="*/ 888020 w 888020"/>
                <a:gd name="connsiteY0" fmla="*/ 57241 h 159882"/>
                <a:gd name="connsiteX1" fmla="*/ 833400 w 888020"/>
                <a:gd name="connsiteY1" fmla="*/ 128885 h 159882"/>
                <a:gd name="connsiteX2" fmla="*/ 650688 w 888020"/>
                <a:gd name="connsiteY2" fmla="*/ 154873 h 159882"/>
                <a:gd name="connsiteX3" fmla="*/ 127754 w 888020"/>
                <a:gd name="connsiteY3" fmla="*/ 116976 h 159882"/>
                <a:gd name="connsiteX4" fmla="*/ 8543 w 888020"/>
                <a:gd name="connsiteY4" fmla="*/ 54858 h 159882"/>
                <a:gd name="connsiteX5" fmla="*/ 56963 w 888020"/>
                <a:gd name="connsiteY5" fmla="*/ 90 h 159882"/>
                <a:gd name="connsiteX0" fmla="*/ 898388 w 898388"/>
                <a:gd name="connsiteY0" fmla="*/ 57217 h 159858"/>
                <a:gd name="connsiteX1" fmla="*/ 843768 w 898388"/>
                <a:gd name="connsiteY1" fmla="*/ 128861 h 159858"/>
                <a:gd name="connsiteX2" fmla="*/ 661056 w 898388"/>
                <a:gd name="connsiteY2" fmla="*/ 154849 h 159858"/>
                <a:gd name="connsiteX3" fmla="*/ 138122 w 898388"/>
                <a:gd name="connsiteY3" fmla="*/ 116952 h 159858"/>
                <a:gd name="connsiteX4" fmla="*/ 6211 w 898388"/>
                <a:gd name="connsiteY4" fmla="*/ 67534 h 159858"/>
                <a:gd name="connsiteX5" fmla="*/ 67331 w 898388"/>
                <a:gd name="connsiteY5" fmla="*/ 66 h 159858"/>
                <a:gd name="connsiteX0" fmla="*/ 931758 w 931758"/>
                <a:gd name="connsiteY0" fmla="*/ 11950 h 470846"/>
                <a:gd name="connsiteX1" fmla="*/ 877138 w 931758"/>
                <a:gd name="connsiteY1" fmla="*/ 83594 h 470846"/>
                <a:gd name="connsiteX2" fmla="*/ 694426 w 931758"/>
                <a:gd name="connsiteY2" fmla="*/ 109582 h 470846"/>
                <a:gd name="connsiteX3" fmla="*/ 171492 w 931758"/>
                <a:gd name="connsiteY3" fmla="*/ 71685 h 470846"/>
                <a:gd name="connsiteX4" fmla="*/ 39581 w 931758"/>
                <a:gd name="connsiteY4" fmla="*/ 22267 h 470846"/>
                <a:gd name="connsiteX5" fmla="*/ 1113 w 931758"/>
                <a:gd name="connsiteY5" fmla="*/ 470846 h 470846"/>
                <a:gd name="connsiteX0" fmla="*/ 937723 w 937723"/>
                <a:gd name="connsiteY0" fmla="*/ 0 h 458896"/>
                <a:gd name="connsiteX1" fmla="*/ 883103 w 937723"/>
                <a:gd name="connsiteY1" fmla="*/ 71644 h 458896"/>
                <a:gd name="connsiteX2" fmla="*/ 700391 w 937723"/>
                <a:gd name="connsiteY2" fmla="*/ 97632 h 458896"/>
                <a:gd name="connsiteX3" fmla="*/ 177457 w 937723"/>
                <a:gd name="connsiteY3" fmla="*/ 59735 h 458896"/>
                <a:gd name="connsiteX4" fmla="*/ 18386 w 937723"/>
                <a:gd name="connsiteY4" fmla="*/ 100852 h 458896"/>
                <a:gd name="connsiteX5" fmla="*/ 7078 w 937723"/>
                <a:gd name="connsiteY5" fmla="*/ 458896 h 458896"/>
                <a:gd name="connsiteX0" fmla="*/ 937723 w 937723"/>
                <a:gd name="connsiteY0" fmla="*/ 0 h 458896"/>
                <a:gd name="connsiteX1" fmla="*/ 883103 w 937723"/>
                <a:gd name="connsiteY1" fmla="*/ 71644 h 458896"/>
                <a:gd name="connsiteX2" fmla="*/ 700391 w 937723"/>
                <a:gd name="connsiteY2" fmla="*/ 97632 h 458896"/>
                <a:gd name="connsiteX3" fmla="*/ 177457 w 937723"/>
                <a:gd name="connsiteY3" fmla="*/ 59735 h 458896"/>
                <a:gd name="connsiteX4" fmla="*/ 18386 w 937723"/>
                <a:gd name="connsiteY4" fmla="*/ 100852 h 458896"/>
                <a:gd name="connsiteX5" fmla="*/ 7078 w 937723"/>
                <a:gd name="connsiteY5" fmla="*/ 458896 h 458896"/>
                <a:gd name="connsiteX0" fmla="*/ 937723 w 937723"/>
                <a:gd name="connsiteY0" fmla="*/ 0 h 458896"/>
                <a:gd name="connsiteX1" fmla="*/ 883103 w 937723"/>
                <a:gd name="connsiteY1" fmla="*/ 71644 h 458896"/>
                <a:gd name="connsiteX2" fmla="*/ 700391 w 937723"/>
                <a:gd name="connsiteY2" fmla="*/ 97632 h 458896"/>
                <a:gd name="connsiteX3" fmla="*/ 177457 w 937723"/>
                <a:gd name="connsiteY3" fmla="*/ 59735 h 458896"/>
                <a:gd name="connsiteX4" fmla="*/ 18386 w 937723"/>
                <a:gd name="connsiteY4" fmla="*/ 100852 h 458896"/>
                <a:gd name="connsiteX5" fmla="*/ 7078 w 937723"/>
                <a:gd name="connsiteY5" fmla="*/ 458896 h 458896"/>
                <a:gd name="connsiteX0" fmla="*/ 936442 w 936442"/>
                <a:gd name="connsiteY0" fmla="*/ 0 h 325546"/>
                <a:gd name="connsiteX1" fmla="*/ 881822 w 936442"/>
                <a:gd name="connsiteY1" fmla="*/ 71644 h 325546"/>
                <a:gd name="connsiteX2" fmla="*/ 699110 w 936442"/>
                <a:gd name="connsiteY2" fmla="*/ 97632 h 325546"/>
                <a:gd name="connsiteX3" fmla="*/ 176176 w 936442"/>
                <a:gd name="connsiteY3" fmla="*/ 59735 h 325546"/>
                <a:gd name="connsiteX4" fmla="*/ 17105 w 936442"/>
                <a:gd name="connsiteY4" fmla="*/ 100852 h 325546"/>
                <a:gd name="connsiteX5" fmla="*/ 8178 w 936442"/>
                <a:gd name="connsiteY5" fmla="*/ 325546 h 325546"/>
                <a:gd name="connsiteX0" fmla="*/ 939110 w 939110"/>
                <a:gd name="connsiteY0" fmla="*/ 0 h 454134"/>
                <a:gd name="connsiteX1" fmla="*/ 884490 w 939110"/>
                <a:gd name="connsiteY1" fmla="*/ 71644 h 454134"/>
                <a:gd name="connsiteX2" fmla="*/ 701778 w 939110"/>
                <a:gd name="connsiteY2" fmla="*/ 97632 h 454134"/>
                <a:gd name="connsiteX3" fmla="*/ 178844 w 939110"/>
                <a:gd name="connsiteY3" fmla="*/ 59735 h 454134"/>
                <a:gd name="connsiteX4" fmla="*/ 19773 w 939110"/>
                <a:gd name="connsiteY4" fmla="*/ 100852 h 454134"/>
                <a:gd name="connsiteX5" fmla="*/ 6084 w 939110"/>
                <a:gd name="connsiteY5" fmla="*/ 454134 h 454134"/>
                <a:gd name="connsiteX0" fmla="*/ 942215 w 942215"/>
                <a:gd name="connsiteY0" fmla="*/ 0 h 406509"/>
                <a:gd name="connsiteX1" fmla="*/ 887595 w 942215"/>
                <a:gd name="connsiteY1" fmla="*/ 71644 h 406509"/>
                <a:gd name="connsiteX2" fmla="*/ 704883 w 942215"/>
                <a:gd name="connsiteY2" fmla="*/ 97632 h 406509"/>
                <a:gd name="connsiteX3" fmla="*/ 181949 w 942215"/>
                <a:gd name="connsiteY3" fmla="*/ 59735 h 406509"/>
                <a:gd name="connsiteX4" fmla="*/ 22878 w 942215"/>
                <a:gd name="connsiteY4" fmla="*/ 100852 h 406509"/>
                <a:gd name="connsiteX5" fmla="*/ 4427 w 942215"/>
                <a:gd name="connsiteY5" fmla="*/ 406509 h 406509"/>
                <a:gd name="connsiteX0" fmla="*/ 942215 w 942215"/>
                <a:gd name="connsiteY0" fmla="*/ 0 h 451752"/>
                <a:gd name="connsiteX1" fmla="*/ 887595 w 942215"/>
                <a:gd name="connsiteY1" fmla="*/ 71644 h 451752"/>
                <a:gd name="connsiteX2" fmla="*/ 704883 w 942215"/>
                <a:gd name="connsiteY2" fmla="*/ 97632 h 451752"/>
                <a:gd name="connsiteX3" fmla="*/ 181949 w 942215"/>
                <a:gd name="connsiteY3" fmla="*/ 59735 h 451752"/>
                <a:gd name="connsiteX4" fmla="*/ 22878 w 942215"/>
                <a:gd name="connsiteY4" fmla="*/ 100852 h 451752"/>
                <a:gd name="connsiteX5" fmla="*/ 4427 w 942215"/>
                <a:gd name="connsiteY5" fmla="*/ 451752 h 451752"/>
                <a:gd name="connsiteX0" fmla="*/ 945318 w 945318"/>
                <a:gd name="connsiteY0" fmla="*/ 0 h 451752"/>
                <a:gd name="connsiteX1" fmla="*/ 890698 w 945318"/>
                <a:gd name="connsiteY1" fmla="*/ 71644 h 451752"/>
                <a:gd name="connsiteX2" fmla="*/ 707986 w 945318"/>
                <a:gd name="connsiteY2" fmla="*/ 97632 h 451752"/>
                <a:gd name="connsiteX3" fmla="*/ 185052 w 945318"/>
                <a:gd name="connsiteY3" fmla="*/ 59735 h 451752"/>
                <a:gd name="connsiteX4" fmla="*/ 18837 w 945318"/>
                <a:gd name="connsiteY4" fmla="*/ 174670 h 451752"/>
                <a:gd name="connsiteX5" fmla="*/ 7530 w 945318"/>
                <a:gd name="connsiteY5" fmla="*/ 451752 h 451752"/>
                <a:gd name="connsiteX0" fmla="*/ 939130 w 939130"/>
                <a:gd name="connsiteY0" fmla="*/ 0 h 451752"/>
                <a:gd name="connsiteX1" fmla="*/ 884510 w 939130"/>
                <a:gd name="connsiteY1" fmla="*/ 71644 h 451752"/>
                <a:gd name="connsiteX2" fmla="*/ 701798 w 939130"/>
                <a:gd name="connsiteY2" fmla="*/ 97632 h 451752"/>
                <a:gd name="connsiteX3" fmla="*/ 178864 w 939130"/>
                <a:gd name="connsiteY3" fmla="*/ 59735 h 451752"/>
                <a:gd name="connsiteX4" fmla="*/ 12649 w 939130"/>
                <a:gd name="connsiteY4" fmla="*/ 174670 h 451752"/>
                <a:gd name="connsiteX5" fmla="*/ 1342 w 939130"/>
                <a:gd name="connsiteY5" fmla="*/ 451752 h 451752"/>
                <a:gd name="connsiteX0" fmla="*/ 944627 w 944627"/>
                <a:gd name="connsiteY0" fmla="*/ 0 h 451752"/>
                <a:gd name="connsiteX1" fmla="*/ 890007 w 944627"/>
                <a:gd name="connsiteY1" fmla="*/ 71644 h 451752"/>
                <a:gd name="connsiteX2" fmla="*/ 707295 w 944627"/>
                <a:gd name="connsiteY2" fmla="*/ 97632 h 451752"/>
                <a:gd name="connsiteX3" fmla="*/ 184361 w 944627"/>
                <a:gd name="connsiteY3" fmla="*/ 59735 h 451752"/>
                <a:gd name="connsiteX4" fmla="*/ 1478 w 944627"/>
                <a:gd name="connsiteY4" fmla="*/ 172289 h 451752"/>
                <a:gd name="connsiteX5" fmla="*/ 6839 w 944627"/>
                <a:gd name="connsiteY5" fmla="*/ 451752 h 451752"/>
                <a:gd name="connsiteX0" fmla="*/ 940614 w 940614"/>
                <a:gd name="connsiteY0" fmla="*/ 0 h 451752"/>
                <a:gd name="connsiteX1" fmla="*/ 885994 w 940614"/>
                <a:gd name="connsiteY1" fmla="*/ 71644 h 451752"/>
                <a:gd name="connsiteX2" fmla="*/ 703282 w 940614"/>
                <a:gd name="connsiteY2" fmla="*/ 97632 h 451752"/>
                <a:gd name="connsiteX3" fmla="*/ 180348 w 940614"/>
                <a:gd name="connsiteY3" fmla="*/ 59735 h 451752"/>
                <a:gd name="connsiteX4" fmla="*/ 4608 w 940614"/>
                <a:gd name="connsiteY4" fmla="*/ 174670 h 451752"/>
                <a:gd name="connsiteX5" fmla="*/ 2826 w 940614"/>
                <a:gd name="connsiteY5" fmla="*/ 451752 h 451752"/>
                <a:gd name="connsiteX0" fmla="*/ 979484 w 979484"/>
                <a:gd name="connsiteY0" fmla="*/ 0 h 451752"/>
                <a:gd name="connsiteX1" fmla="*/ 924864 w 979484"/>
                <a:gd name="connsiteY1" fmla="*/ 71644 h 451752"/>
                <a:gd name="connsiteX2" fmla="*/ 742152 w 979484"/>
                <a:gd name="connsiteY2" fmla="*/ 97632 h 451752"/>
                <a:gd name="connsiteX3" fmla="*/ 604980 w 979484"/>
                <a:gd name="connsiteY3" fmla="*/ 93073 h 451752"/>
                <a:gd name="connsiteX4" fmla="*/ 43478 w 979484"/>
                <a:gd name="connsiteY4" fmla="*/ 174670 h 451752"/>
                <a:gd name="connsiteX5" fmla="*/ 41696 w 979484"/>
                <a:gd name="connsiteY5" fmla="*/ 451752 h 451752"/>
                <a:gd name="connsiteX0" fmla="*/ 937858 w 937858"/>
                <a:gd name="connsiteY0" fmla="*/ 0 h 451752"/>
                <a:gd name="connsiteX1" fmla="*/ 883238 w 937858"/>
                <a:gd name="connsiteY1" fmla="*/ 71644 h 451752"/>
                <a:gd name="connsiteX2" fmla="*/ 700526 w 937858"/>
                <a:gd name="connsiteY2" fmla="*/ 97632 h 451752"/>
                <a:gd name="connsiteX3" fmla="*/ 563354 w 937858"/>
                <a:gd name="connsiteY3" fmla="*/ 93073 h 451752"/>
                <a:gd name="connsiteX4" fmla="*/ 416190 w 937858"/>
                <a:gd name="connsiteY4" fmla="*/ 150858 h 451752"/>
                <a:gd name="connsiteX5" fmla="*/ 70 w 937858"/>
                <a:gd name="connsiteY5" fmla="*/ 451752 h 451752"/>
                <a:gd name="connsiteX0" fmla="*/ 522708 w 522708"/>
                <a:gd name="connsiteY0" fmla="*/ 0 h 780364"/>
                <a:gd name="connsiteX1" fmla="*/ 468088 w 522708"/>
                <a:gd name="connsiteY1" fmla="*/ 71644 h 780364"/>
                <a:gd name="connsiteX2" fmla="*/ 285376 w 522708"/>
                <a:gd name="connsiteY2" fmla="*/ 97632 h 780364"/>
                <a:gd name="connsiteX3" fmla="*/ 148204 w 522708"/>
                <a:gd name="connsiteY3" fmla="*/ 93073 h 780364"/>
                <a:gd name="connsiteX4" fmla="*/ 1040 w 522708"/>
                <a:gd name="connsiteY4" fmla="*/ 150858 h 780364"/>
                <a:gd name="connsiteX5" fmla="*/ 80220 w 522708"/>
                <a:gd name="connsiteY5" fmla="*/ 780364 h 780364"/>
                <a:gd name="connsiteX0" fmla="*/ 482181 w 482181"/>
                <a:gd name="connsiteY0" fmla="*/ 0 h 780364"/>
                <a:gd name="connsiteX1" fmla="*/ 427561 w 482181"/>
                <a:gd name="connsiteY1" fmla="*/ 71644 h 780364"/>
                <a:gd name="connsiteX2" fmla="*/ 244849 w 482181"/>
                <a:gd name="connsiteY2" fmla="*/ 97632 h 780364"/>
                <a:gd name="connsiteX3" fmla="*/ 107677 w 482181"/>
                <a:gd name="connsiteY3" fmla="*/ 93073 h 780364"/>
                <a:gd name="connsiteX4" fmla="*/ 3376 w 482181"/>
                <a:gd name="connsiteY4" fmla="*/ 193720 h 780364"/>
                <a:gd name="connsiteX5" fmla="*/ 39693 w 482181"/>
                <a:gd name="connsiteY5" fmla="*/ 780364 h 780364"/>
                <a:gd name="connsiteX0" fmla="*/ 476520 w 476520"/>
                <a:gd name="connsiteY0" fmla="*/ 0 h 780364"/>
                <a:gd name="connsiteX1" fmla="*/ 421900 w 476520"/>
                <a:gd name="connsiteY1" fmla="*/ 71644 h 780364"/>
                <a:gd name="connsiteX2" fmla="*/ 239188 w 476520"/>
                <a:gd name="connsiteY2" fmla="*/ 97632 h 780364"/>
                <a:gd name="connsiteX3" fmla="*/ 102016 w 476520"/>
                <a:gd name="connsiteY3" fmla="*/ 93073 h 780364"/>
                <a:gd name="connsiteX4" fmla="*/ 7240 w 476520"/>
                <a:gd name="connsiteY4" fmla="*/ 217533 h 780364"/>
                <a:gd name="connsiteX5" fmla="*/ 34032 w 476520"/>
                <a:gd name="connsiteY5" fmla="*/ 780364 h 780364"/>
                <a:gd name="connsiteX0" fmla="*/ 471657 w 471657"/>
                <a:gd name="connsiteY0" fmla="*/ 0 h 780364"/>
                <a:gd name="connsiteX1" fmla="*/ 417037 w 471657"/>
                <a:gd name="connsiteY1" fmla="*/ 71644 h 780364"/>
                <a:gd name="connsiteX2" fmla="*/ 234325 w 471657"/>
                <a:gd name="connsiteY2" fmla="*/ 97632 h 780364"/>
                <a:gd name="connsiteX3" fmla="*/ 97153 w 471657"/>
                <a:gd name="connsiteY3" fmla="*/ 93073 h 780364"/>
                <a:gd name="connsiteX4" fmla="*/ 2377 w 471657"/>
                <a:gd name="connsiteY4" fmla="*/ 217533 h 780364"/>
                <a:gd name="connsiteX5" fmla="*/ 29169 w 471657"/>
                <a:gd name="connsiteY5" fmla="*/ 780364 h 780364"/>
                <a:gd name="connsiteX0" fmla="*/ 462848 w 462848"/>
                <a:gd name="connsiteY0" fmla="*/ 0 h 780364"/>
                <a:gd name="connsiteX1" fmla="*/ 408228 w 462848"/>
                <a:gd name="connsiteY1" fmla="*/ 71644 h 780364"/>
                <a:gd name="connsiteX2" fmla="*/ 225516 w 462848"/>
                <a:gd name="connsiteY2" fmla="*/ 97632 h 780364"/>
                <a:gd name="connsiteX3" fmla="*/ 88344 w 462848"/>
                <a:gd name="connsiteY3" fmla="*/ 93073 h 780364"/>
                <a:gd name="connsiteX4" fmla="*/ 3093 w 462848"/>
                <a:gd name="connsiteY4" fmla="*/ 217533 h 780364"/>
                <a:gd name="connsiteX5" fmla="*/ 20360 w 462848"/>
                <a:gd name="connsiteY5" fmla="*/ 780364 h 780364"/>
                <a:gd name="connsiteX0" fmla="*/ 491198 w 491198"/>
                <a:gd name="connsiteY0" fmla="*/ 0 h 780364"/>
                <a:gd name="connsiteX1" fmla="*/ 436578 w 491198"/>
                <a:gd name="connsiteY1" fmla="*/ 71644 h 780364"/>
                <a:gd name="connsiteX2" fmla="*/ 253866 w 491198"/>
                <a:gd name="connsiteY2" fmla="*/ 97632 h 780364"/>
                <a:gd name="connsiteX3" fmla="*/ 116694 w 491198"/>
                <a:gd name="connsiteY3" fmla="*/ 93073 h 780364"/>
                <a:gd name="connsiteX4" fmla="*/ 31443 w 491198"/>
                <a:gd name="connsiteY4" fmla="*/ 217533 h 780364"/>
                <a:gd name="connsiteX5" fmla="*/ 1085 w 491198"/>
                <a:gd name="connsiteY5" fmla="*/ 780364 h 780364"/>
                <a:gd name="connsiteX0" fmla="*/ 466326 w 466326"/>
                <a:gd name="connsiteY0" fmla="*/ 0 h 780364"/>
                <a:gd name="connsiteX1" fmla="*/ 411706 w 466326"/>
                <a:gd name="connsiteY1" fmla="*/ 71644 h 780364"/>
                <a:gd name="connsiteX2" fmla="*/ 228994 w 466326"/>
                <a:gd name="connsiteY2" fmla="*/ 97632 h 780364"/>
                <a:gd name="connsiteX3" fmla="*/ 91822 w 466326"/>
                <a:gd name="connsiteY3" fmla="*/ 93073 h 780364"/>
                <a:gd name="connsiteX4" fmla="*/ 6571 w 466326"/>
                <a:gd name="connsiteY4" fmla="*/ 217533 h 780364"/>
                <a:gd name="connsiteX5" fmla="*/ 9551 w 466326"/>
                <a:gd name="connsiteY5" fmla="*/ 780364 h 780364"/>
                <a:gd name="connsiteX0" fmla="*/ 469951 w 469951"/>
                <a:gd name="connsiteY0" fmla="*/ 0 h 780364"/>
                <a:gd name="connsiteX1" fmla="*/ 415331 w 469951"/>
                <a:gd name="connsiteY1" fmla="*/ 71644 h 780364"/>
                <a:gd name="connsiteX2" fmla="*/ 232619 w 469951"/>
                <a:gd name="connsiteY2" fmla="*/ 97632 h 780364"/>
                <a:gd name="connsiteX3" fmla="*/ 95447 w 469951"/>
                <a:gd name="connsiteY3" fmla="*/ 93073 h 780364"/>
                <a:gd name="connsiteX4" fmla="*/ 5433 w 469951"/>
                <a:gd name="connsiteY4" fmla="*/ 303258 h 780364"/>
                <a:gd name="connsiteX5" fmla="*/ 13176 w 469951"/>
                <a:gd name="connsiteY5" fmla="*/ 780364 h 780364"/>
                <a:gd name="connsiteX0" fmla="*/ 473093 w 473093"/>
                <a:gd name="connsiteY0" fmla="*/ 0 h 780364"/>
                <a:gd name="connsiteX1" fmla="*/ 418473 w 473093"/>
                <a:gd name="connsiteY1" fmla="*/ 71644 h 780364"/>
                <a:gd name="connsiteX2" fmla="*/ 235761 w 473093"/>
                <a:gd name="connsiteY2" fmla="*/ 97632 h 780364"/>
                <a:gd name="connsiteX3" fmla="*/ 141452 w 473093"/>
                <a:gd name="connsiteY3" fmla="*/ 93073 h 780364"/>
                <a:gd name="connsiteX4" fmla="*/ 8575 w 473093"/>
                <a:gd name="connsiteY4" fmla="*/ 303258 h 780364"/>
                <a:gd name="connsiteX5" fmla="*/ 16318 w 473093"/>
                <a:gd name="connsiteY5" fmla="*/ 780364 h 780364"/>
                <a:gd name="connsiteX0" fmla="*/ 473093 w 473093"/>
                <a:gd name="connsiteY0" fmla="*/ 0 h 780364"/>
                <a:gd name="connsiteX1" fmla="*/ 418473 w 473093"/>
                <a:gd name="connsiteY1" fmla="*/ 71644 h 780364"/>
                <a:gd name="connsiteX2" fmla="*/ 235761 w 473093"/>
                <a:gd name="connsiteY2" fmla="*/ 97632 h 780364"/>
                <a:gd name="connsiteX3" fmla="*/ 141452 w 473093"/>
                <a:gd name="connsiteY3" fmla="*/ 93073 h 780364"/>
                <a:gd name="connsiteX4" fmla="*/ 8575 w 473093"/>
                <a:gd name="connsiteY4" fmla="*/ 303258 h 780364"/>
                <a:gd name="connsiteX5" fmla="*/ 16318 w 473093"/>
                <a:gd name="connsiteY5" fmla="*/ 780364 h 780364"/>
                <a:gd name="connsiteX0" fmla="*/ 464958 w 464958"/>
                <a:gd name="connsiteY0" fmla="*/ 0 h 780364"/>
                <a:gd name="connsiteX1" fmla="*/ 410338 w 464958"/>
                <a:gd name="connsiteY1" fmla="*/ 71644 h 780364"/>
                <a:gd name="connsiteX2" fmla="*/ 227626 w 464958"/>
                <a:gd name="connsiteY2" fmla="*/ 97632 h 780364"/>
                <a:gd name="connsiteX3" fmla="*/ 133317 w 464958"/>
                <a:gd name="connsiteY3" fmla="*/ 93073 h 780364"/>
                <a:gd name="connsiteX4" fmla="*/ 440 w 464958"/>
                <a:gd name="connsiteY4" fmla="*/ 303258 h 780364"/>
                <a:gd name="connsiteX5" fmla="*/ 8183 w 464958"/>
                <a:gd name="connsiteY5" fmla="*/ 780364 h 780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958" h="780364">
                  <a:moveTo>
                    <a:pt x="464958" y="0"/>
                  </a:moveTo>
                  <a:cubicBezTo>
                    <a:pt x="458236" y="10750"/>
                    <a:pt x="434018" y="45053"/>
                    <a:pt x="410338" y="71644"/>
                  </a:cubicBezTo>
                  <a:cubicBezTo>
                    <a:pt x="348557" y="117286"/>
                    <a:pt x="273796" y="94061"/>
                    <a:pt x="227626" y="97632"/>
                  </a:cubicBezTo>
                  <a:cubicBezTo>
                    <a:pt x="181456" y="101203"/>
                    <a:pt x="308951" y="104912"/>
                    <a:pt x="133317" y="93073"/>
                  </a:cubicBezTo>
                  <a:cubicBezTo>
                    <a:pt x="-8500" y="89105"/>
                    <a:pt x="2072" y="186838"/>
                    <a:pt x="440" y="303258"/>
                  </a:cubicBezTo>
                  <a:cubicBezTo>
                    <a:pt x="-1366" y="432095"/>
                    <a:pt x="2626" y="778381"/>
                    <a:pt x="8183" y="780364"/>
                  </a:cubicBezTo>
                </a:path>
              </a:pathLst>
            </a:custGeom>
            <a:noFill/>
            <a:ln w="28575">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3" name="Freihandform 32"/>
            <p:cNvSpPr/>
            <p:nvPr/>
          </p:nvSpPr>
          <p:spPr>
            <a:xfrm>
              <a:off x="2555384" y="4310960"/>
              <a:ext cx="330344" cy="816837"/>
            </a:xfrm>
            <a:custGeom>
              <a:avLst/>
              <a:gdLst>
                <a:gd name="connsiteX0" fmla="*/ 1733550 w 1733550"/>
                <a:gd name="connsiteY0" fmla="*/ 857250 h 962025"/>
                <a:gd name="connsiteX1" fmla="*/ 1612900 w 1733550"/>
                <a:gd name="connsiteY1" fmla="*/ 962025 h 962025"/>
                <a:gd name="connsiteX2" fmla="*/ 0 w 1733550"/>
                <a:gd name="connsiteY2" fmla="*/ 838200 h 962025"/>
                <a:gd name="connsiteX3" fmla="*/ 666750 w 1733550"/>
                <a:gd name="connsiteY3" fmla="*/ 323850 h 962025"/>
                <a:gd name="connsiteX4" fmla="*/ 666750 w 1733550"/>
                <a:gd name="connsiteY4" fmla="*/ 0 h 962025"/>
                <a:gd name="connsiteX0" fmla="*/ 1756203 w 1756203"/>
                <a:gd name="connsiteY0" fmla="*/ 857250 h 962025"/>
                <a:gd name="connsiteX1" fmla="*/ 1635553 w 1756203"/>
                <a:gd name="connsiteY1" fmla="*/ 962025 h 962025"/>
                <a:gd name="connsiteX2" fmla="*/ 22653 w 1756203"/>
                <a:gd name="connsiteY2" fmla="*/ 838200 h 962025"/>
                <a:gd name="connsiteX3" fmla="*/ 689403 w 1756203"/>
                <a:gd name="connsiteY3" fmla="*/ 323850 h 962025"/>
                <a:gd name="connsiteX4" fmla="*/ 689403 w 1756203"/>
                <a:gd name="connsiteY4" fmla="*/ 0 h 962025"/>
                <a:gd name="connsiteX0" fmla="*/ 1756203 w 1756203"/>
                <a:gd name="connsiteY0" fmla="*/ 857250 h 962025"/>
                <a:gd name="connsiteX1" fmla="*/ 1635553 w 1756203"/>
                <a:gd name="connsiteY1" fmla="*/ 962025 h 962025"/>
                <a:gd name="connsiteX2" fmla="*/ 22653 w 1756203"/>
                <a:gd name="connsiteY2" fmla="*/ 838200 h 962025"/>
                <a:gd name="connsiteX3" fmla="*/ 689403 w 1756203"/>
                <a:gd name="connsiteY3" fmla="*/ 323850 h 962025"/>
                <a:gd name="connsiteX4" fmla="*/ 689403 w 1756203"/>
                <a:gd name="connsiteY4" fmla="*/ 0 h 962025"/>
                <a:gd name="connsiteX0" fmla="*/ 1756203 w 1791674"/>
                <a:gd name="connsiteY0" fmla="*/ 857250 h 962125"/>
                <a:gd name="connsiteX1" fmla="*/ 1635553 w 1791674"/>
                <a:gd name="connsiteY1" fmla="*/ 962025 h 962125"/>
                <a:gd name="connsiteX2" fmla="*/ 22653 w 1791674"/>
                <a:gd name="connsiteY2" fmla="*/ 838200 h 962125"/>
                <a:gd name="connsiteX3" fmla="*/ 689403 w 1791674"/>
                <a:gd name="connsiteY3" fmla="*/ 323850 h 962125"/>
                <a:gd name="connsiteX4" fmla="*/ 689403 w 1791674"/>
                <a:gd name="connsiteY4" fmla="*/ 0 h 962125"/>
                <a:gd name="connsiteX0" fmla="*/ 1758028 w 1793499"/>
                <a:gd name="connsiteY0" fmla="*/ 857250 h 962125"/>
                <a:gd name="connsiteX1" fmla="*/ 1637378 w 1793499"/>
                <a:gd name="connsiteY1" fmla="*/ 962025 h 962125"/>
                <a:gd name="connsiteX2" fmla="*/ 24478 w 1793499"/>
                <a:gd name="connsiteY2" fmla="*/ 838200 h 962125"/>
                <a:gd name="connsiteX3" fmla="*/ 665034 w 1793499"/>
                <a:gd name="connsiteY3" fmla="*/ 352425 h 962125"/>
                <a:gd name="connsiteX4" fmla="*/ 691228 w 1793499"/>
                <a:gd name="connsiteY4" fmla="*/ 0 h 962125"/>
                <a:gd name="connsiteX0" fmla="*/ 1757134 w 1792605"/>
                <a:gd name="connsiteY0" fmla="*/ 857250 h 962125"/>
                <a:gd name="connsiteX1" fmla="*/ 1636484 w 1792605"/>
                <a:gd name="connsiteY1" fmla="*/ 962025 h 962125"/>
                <a:gd name="connsiteX2" fmla="*/ 23584 w 1792605"/>
                <a:gd name="connsiteY2" fmla="*/ 838200 h 962125"/>
                <a:gd name="connsiteX3" fmla="*/ 664140 w 1792605"/>
                <a:gd name="connsiteY3" fmla="*/ 352425 h 962125"/>
                <a:gd name="connsiteX4" fmla="*/ 690334 w 1792605"/>
                <a:gd name="connsiteY4" fmla="*/ 0 h 962125"/>
                <a:gd name="connsiteX0" fmla="*/ 1756629 w 1792100"/>
                <a:gd name="connsiteY0" fmla="*/ 857250 h 962125"/>
                <a:gd name="connsiteX1" fmla="*/ 1635979 w 1792100"/>
                <a:gd name="connsiteY1" fmla="*/ 962025 h 962125"/>
                <a:gd name="connsiteX2" fmla="*/ 23079 w 1792100"/>
                <a:gd name="connsiteY2" fmla="*/ 838200 h 962125"/>
                <a:gd name="connsiteX3" fmla="*/ 663635 w 1792100"/>
                <a:gd name="connsiteY3" fmla="*/ 352425 h 962125"/>
                <a:gd name="connsiteX4" fmla="*/ 689829 w 1792100"/>
                <a:gd name="connsiteY4" fmla="*/ 0 h 962125"/>
                <a:gd name="connsiteX0" fmla="*/ 1757796 w 1793267"/>
                <a:gd name="connsiteY0" fmla="*/ 857250 h 962125"/>
                <a:gd name="connsiteX1" fmla="*/ 1637146 w 1793267"/>
                <a:gd name="connsiteY1" fmla="*/ 962025 h 962125"/>
                <a:gd name="connsiteX2" fmla="*/ 24246 w 1793267"/>
                <a:gd name="connsiteY2" fmla="*/ 838200 h 962125"/>
                <a:gd name="connsiteX3" fmla="*/ 664802 w 1793267"/>
                <a:gd name="connsiteY3" fmla="*/ 352425 h 962125"/>
                <a:gd name="connsiteX4" fmla="*/ 690996 w 1793267"/>
                <a:gd name="connsiteY4" fmla="*/ 0 h 962125"/>
                <a:gd name="connsiteX0" fmla="*/ 1759182 w 1794653"/>
                <a:gd name="connsiteY0" fmla="*/ 857250 h 962125"/>
                <a:gd name="connsiteX1" fmla="*/ 1638532 w 1794653"/>
                <a:gd name="connsiteY1" fmla="*/ 962025 h 962125"/>
                <a:gd name="connsiteX2" fmla="*/ 25632 w 1794653"/>
                <a:gd name="connsiteY2" fmla="*/ 838200 h 962125"/>
                <a:gd name="connsiteX3" fmla="*/ 647138 w 1794653"/>
                <a:gd name="connsiteY3" fmla="*/ 366712 h 962125"/>
                <a:gd name="connsiteX4" fmla="*/ 692382 w 1794653"/>
                <a:gd name="connsiteY4" fmla="*/ 0 h 962125"/>
                <a:gd name="connsiteX0" fmla="*/ 1758482 w 1793953"/>
                <a:gd name="connsiteY0" fmla="*/ 857250 h 962125"/>
                <a:gd name="connsiteX1" fmla="*/ 1637832 w 1793953"/>
                <a:gd name="connsiteY1" fmla="*/ 962025 h 962125"/>
                <a:gd name="connsiteX2" fmla="*/ 24932 w 1793953"/>
                <a:gd name="connsiteY2" fmla="*/ 838200 h 962125"/>
                <a:gd name="connsiteX3" fmla="*/ 655963 w 1793953"/>
                <a:gd name="connsiteY3" fmla="*/ 359568 h 962125"/>
                <a:gd name="connsiteX4" fmla="*/ 691682 w 1793953"/>
                <a:gd name="connsiteY4" fmla="*/ 0 h 962125"/>
                <a:gd name="connsiteX0" fmla="*/ 1758414 w 1793885"/>
                <a:gd name="connsiteY0" fmla="*/ 857250 h 962125"/>
                <a:gd name="connsiteX1" fmla="*/ 1637764 w 1793885"/>
                <a:gd name="connsiteY1" fmla="*/ 962025 h 962125"/>
                <a:gd name="connsiteX2" fmla="*/ 24864 w 1793885"/>
                <a:gd name="connsiteY2" fmla="*/ 838200 h 962125"/>
                <a:gd name="connsiteX3" fmla="*/ 655895 w 1793885"/>
                <a:gd name="connsiteY3" fmla="*/ 359568 h 962125"/>
                <a:gd name="connsiteX4" fmla="*/ 691614 w 1793885"/>
                <a:gd name="connsiteY4" fmla="*/ 0 h 962125"/>
                <a:gd name="connsiteX0" fmla="*/ 1758760 w 1794231"/>
                <a:gd name="connsiteY0" fmla="*/ 857250 h 962125"/>
                <a:gd name="connsiteX1" fmla="*/ 1638110 w 1794231"/>
                <a:gd name="connsiteY1" fmla="*/ 962025 h 962125"/>
                <a:gd name="connsiteX2" fmla="*/ 25210 w 1794231"/>
                <a:gd name="connsiteY2" fmla="*/ 838200 h 962125"/>
                <a:gd name="connsiteX3" fmla="*/ 651478 w 1794231"/>
                <a:gd name="connsiteY3" fmla="*/ 359568 h 962125"/>
                <a:gd name="connsiteX4" fmla="*/ 691960 w 1794231"/>
                <a:gd name="connsiteY4" fmla="*/ 0 h 962125"/>
                <a:gd name="connsiteX0" fmla="*/ 1759941 w 1795412"/>
                <a:gd name="connsiteY0" fmla="*/ 857250 h 962125"/>
                <a:gd name="connsiteX1" fmla="*/ 1639291 w 1795412"/>
                <a:gd name="connsiteY1" fmla="*/ 962025 h 962125"/>
                <a:gd name="connsiteX2" fmla="*/ 26391 w 1795412"/>
                <a:gd name="connsiteY2" fmla="*/ 838200 h 962125"/>
                <a:gd name="connsiteX3" fmla="*/ 652659 w 1795412"/>
                <a:gd name="connsiteY3" fmla="*/ 359568 h 962125"/>
                <a:gd name="connsiteX4" fmla="*/ 693141 w 1795412"/>
                <a:gd name="connsiteY4" fmla="*/ 0 h 962125"/>
                <a:gd name="connsiteX0" fmla="*/ 1759941 w 1795412"/>
                <a:gd name="connsiteY0" fmla="*/ 857250 h 962125"/>
                <a:gd name="connsiteX1" fmla="*/ 1639291 w 1795412"/>
                <a:gd name="connsiteY1" fmla="*/ 962025 h 962125"/>
                <a:gd name="connsiteX2" fmla="*/ 26391 w 1795412"/>
                <a:gd name="connsiteY2" fmla="*/ 838200 h 962125"/>
                <a:gd name="connsiteX3" fmla="*/ 652659 w 1795412"/>
                <a:gd name="connsiteY3" fmla="*/ 359568 h 962125"/>
                <a:gd name="connsiteX4" fmla="*/ 693141 w 1795412"/>
                <a:gd name="connsiteY4" fmla="*/ 0 h 962125"/>
                <a:gd name="connsiteX0" fmla="*/ 1759554 w 1795025"/>
                <a:gd name="connsiteY0" fmla="*/ 857250 h 962125"/>
                <a:gd name="connsiteX1" fmla="*/ 1638904 w 1795025"/>
                <a:gd name="connsiteY1" fmla="*/ 962025 h 962125"/>
                <a:gd name="connsiteX2" fmla="*/ 26004 w 1795025"/>
                <a:gd name="connsiteY2" fmla="*/ 838200 h 962125"/>
                <a:gd name="connsiteX3" fmla="*/ 652272 w 1795025"/>
                <a:gd name="connsiteY3" fmla="*/ 359568 h 962125"/>
                <a:gd name="connsiteX4" fmla="*/ 692754 w 1795025"/>
                <a:gd name="connsiteY4" fmla="*/ 0 h 962125"/>
                <a:gd name="connsiteX0" fmla="*/ 1696629 w 1727609"/>
                <a:gd name="connsiteY0" fmla="*/ 857250 h 962278"/>
                <a:gd name="connsiteX1" fmla="*/ 1575979 w 1727609"/>
                <a:gd name="connsiteY1" fmla="*/ 962025 h 962278"/>
                <a:gd name="connsiteX2" fmla="*/ 27373 w 1727609"/>
                <a:gd name="connsiteY2" fmla="*/ 826294 h 962278"/>
                <a:gd name="connsiteX3" fmla="*/ 589347 w 1727609"/>
                <a:gd name="connsiteY3" fmla="*/ 359568 h 962278"/>
                <a:gd name="connsiteX4" fmla="*/ 629829 w 1727609"/>
                <a:gd name="connsiteY4" fmla="*/ 0 h 962278"/>
                <a:gd name="connsiteX0" fmla="*/ 1704087 w 1735067"/>
                <a:gd name="connsiteY0" fmla="*/ 857250 h 962278"/>
                <a:gd name="connsiteX1" fmla="*/ 1583437 w 1735067"/>
                <a:gd name="connsiteY1" fmla="*/ 962025 h 962278"/>
                <a:gd name="connsiteX2" fmla="*/ 34831 w 1735067"/>
                <a:gd name="connsiteY2" fmla="*/ 826294 h 962278"/>
                <a:gd name="connsiteX3" fmla="*/ 596805 w 1735067"/>
                <a:gd name="connsiteY3" fmla="*/ 359568 h 962278"/>
                <a:gd name="connsiteX4" fmla="*/ 637287 w 1735067"/>
                <a:gd name="connsiteY4" fmla="*/ 0 h 962278"/>
                <a:gd name="connsiteX0" fmla="*/ 1685946 w 1716926"/>
                <a:gd name="connsiteY0" fmla="*/ 857250 h 962278"/>
                <a:gd name="connsiteX1" fmla="*/ 1565296 w 1716926"/>
                <a:gd name="connsiteY1" fmla="*/ 962025 h 962278"/>
                <a:gd name="connsiteX2" fmla="*/ 16690 w 1716926"/>
                <a:gd name="connsiteY2" fmla="*/ 826294 h 962278"/>
                <a:gd name="connsiteX3" fmla="*/ 578664 w 1716926"/>
                <a:gd name="connsiteY3" fmla="*/ 359568 h 962278"/>
                <a:gd name="connsiteX4" fmla="*/ 619146 w 1716926"/>
                <a:gd name="connsiteY4" fmla="*/ 0 h 962278"/>
                <a:gd name="connsiteX0" fmla="*/ 1716282 w 1749421"/>
                <a:gd name="connsiteY0" fmla="*/ 857250 h 962065"/>
                <a:gd name="connsiteX1" fmla="*/ 1595632 w 1749421"/>
                <a:gd name="connsiteY1" fmla="*/ 962025 h 962065"/>
                <a:gd name="connsiteX2" fmla="*/ 16070 w 1749421"/>
                <a:gd name="connsiteY2" fmla="*/ 845344 h 962065"/>
                <a:gd name="connsiteX3" fmla="*/ 609000 w 1749421"/>
                <a:gd name="connsiteY3" fmla="*/ 359568 h 962065"/>
                <a:gd name="connsiteX4" fmla="*/ 649482 w 1749421"/>
                <a:gd name="connsiteY4" fmla="*/ 0 h 962065"/>
                <a:gd name="connsiteX0" fmla="*/ 1716716 w 1749855"/>
                <a:gd name="connsiteY0" fmla="*/ 857250 h 962065"/>
                <a:gd name="connsiteX1" fmla="*/ 1596066 w 1749855"/>
                <a:gd name="connsiteY1" fmla="*/ 962025 h 962065"/>
                <a:gd name="connsiteX2" fmla="*/ 16504 w 1749855"/>
                <a:gd name="connsiteY2" fmla="*/ 845344 h 962065"/>
                <a:gd name="connsiteX3" fmla="*/ 609434 w 1749855"/>
                <a:gd name="connsiteY3" fmla="*/ 359568 h 962065"/>
                <a:gd name="connsiteX4" fmla="*/ 649916 w 1749855"/>
                <a:gd name="connsiteY4" fmla="*/ 0 h 962065"/>
                <a:gd name="connsiteX0" fmla="*/ 1716443 w 1749582"/>
                <a:gd name="connsiteY0" fmla="*/ 857250 h 962065"/>
                <a:gd name="connsiteX1" fmla="*/ 1595793 w 1749582"/>
                <a:gd name="connsiteY1" fmla="*/ 962025 h 962065"/>
                <a:gd name="connsiteX2" fmla="*/ 16231 w 1749582"/>
                <a:gd name="connsiteY2" fmla="*/ 845344 h 962065"/>
                <a:gd name="connsiteX3" fmla="*/ 609161 w 1749582"/>
                <a:gd name="connsiteY3" fmla="*/ 359568 h 962065"/>
                <a:gd name="connsiteX4" fmla="*/ 649643 w 1749582"/>
                <a:gd name="connsiteY4" fmla="*/ 0 h 962065"/>
                <a:gd name="connsiteX0" fmla="*/ 1702509 w 1735648"/>
                <a:gd name="connsiteY0" fmla="*/ 857250 h 962065"/>
                <a:gd name="connsiteX1" fmla="*/ 1581859 w 1735648"/>
                <a:gd name="connsiteY1" fmla="*/ 962025 h 962065"/>
                <a:gd name="connsiteX2" fmla="*/ 2297 w 1735648"/>
                <a:gd name="connsiteY2" fmla="*/ 845344 h 962065"/>
                <a:gd name="connsiteX3" fmla="*/ 595227 w 1735648"/>
                <a:gd name="connsiteY3" fmla="*/ 359568 h 962065"/>
                <a:gd name="connsiteX4" fmla="*/ 635709 w 1735648"/>
                <a:gd name="connsiteY4" fmla="*/ 0 h 962065"/>
                <a:gd name="connsiteX0" fmla="*/ 1702509 w 1735648"/>
                <a:gd name="connsiteY0" fmla="*/ 857250 h 962065"/>
                <a:gd name="connsiteX1" fmla="*/ 1581859 w 1735648"/>
                <a:gd name="connsiteY1" fmla="*/ 962025 h 962065"/>
                <a:gd name="connsiteX2" fmla="*/ 2297 w 1735648"/>
                <a:gd name="connsiteY2" fmla="*/ 845344 h 962065"/>
                <a:gd name="connsiteX3" fmla="*/ 595227 w 1735648"/>
                <a:gd name="connsiteY3" fmla="*/ 359568 h 962065"/>
                <a:gd name="connsiteX4" fmla="*/ 635709 w 1735648"/>
                <a:gd name="connsiteY4" fmla="*/ 0 h 962065"/>
                <a:gd name="connsiteX0" fmla="*/ 1681171 w 1712815"/>
                <a:gd name="connsiteY0" fmla="*/ 857250 h 962209"/>
                <a:gd name="connsiteX1" fmla="*/ 1560521 w 1712815"/>
                <a:gd name="connsiteY1" fmla="*/ 962025 h 962209"/>
                <a:gd name="connsiteX2" fmla="*/ 2390 w 1712815"/>
                <a:gd name="connsiteY2" fmla="*/ 831056 h 962209"/>
                <a:gd name="connsiteX3" fmla="*/ 573889 w 1712815"/>
                <a:gd name="connsiteY3" fmla="*/ 359568 h 962209"/>
                <a:gd name="connsiteX4" fmla="*/ 614371 w 1712815"/>
                <a:gd name="connsiteY4" fmla="*/ 0 h 962209"/>
                <a:gd name="connsiteX0" fmla="*/ 1681171 w 1712815"/>
                <a:gd name="connsiteY0" fmla="*/ 857250 h 962209"/>
                <a:gd name="connsiteX1" fmla="*/ 1560521 w 1712815"/>
                <a:gd name="connsiteY1" fmla="*/ 962025 h 962209"/>
                <a:gd name="connsiteX2" fmla="*/ 2390 w 1712815"/>
                <a:gd name="connsiteY2" fmla="*/ 831056 h 962209"/>
                <a:gd name="connsiteX3" fmla="*/ 573889 w 1712815"/>
                <a:gd name="connsiteY3" fmla="*/ 359568 h 962209"/>
                <a:gd name="connsiteX4" fmla="*/ 614371 w 1712815"/>
                <a:gd name="connsiteY4" fmla="*/ 0 h 962209"/>
                <a:gd name="connsiteX0" fmla="*/ 1681235 w 1712879"/>
                <a:gd name="connsiteY0" fmla="*/ 857250 h 962209"/>
                <a:gd name="connsiteX1" fmla="*/ 1560585 w 1712879"/>
                <a:gd name="connsiteY1" fmla="*/ 962025 h 962209"/>
                <a:gd name="connsiteX2" fmla="*/ 2454 w 1712879"/>
                <a:gd name="connsiteY2" fmla="*/ 831056 h 962209"/>
                <a:gd name="connsiteX3" fmla="*/ 573953 w 1712879"/>
                <a:gd name="connsiteY3" fmla="*/ 359568 h 962209"/>
                <a:gd name="connsiteX4" fmla="*/ 614435 w 1712879"/>
                <a:gd name="connsiteY4" fmla="*/ 0 h 962209"/>
                <a:gd name="connsiteX0" fmla="*/ 1678781 w 1710425"/>
                <a:gd name="connsiteY0" fmla="*/ 857250 h 962209"/>
                <a:gd name="connsiteX1" fmla="*/ 1558131 w 1710425"/>
                <a:gd name="connsiteY1" fmla="*/ 962025 h 962209"/>
                <a:gd name="connsiteX2" fmla="*/ 0 w 1710425"/>
                <a:gd name="connsiteY2" fmla="*/ 831056 h 962209"/>
                <a:gd name="connsiteX3" fmla="*/ 571499 w 1710425"/>
                <a:gd name="connsiteY3" fmla="*/ 359568 h 962209"/>
                <a:gd name="connsiteX4" fmla="*/ 611981 w 1710425"/>
                <a:gd name="connsiteY4" fmla="*/ 0 h 962209"/>
                <a:gd name="connsiteX0" fmla="*/ 1678781 w 1710425"/>
                <a:gd name="connsiteY0" fmla="*/ 857250 h 962209"/>
                <a:gd name="connsiteX1" fmla="*/ 1558131 w 1710425"/>
                <a:gd name="connsiteY1" fmla="*/ 962025 h 962209"/>
                <a:gd name="connsiteX2" fmla="*/ 0 w 1710425"/>
                <a:gd name="connsiteY2" fmla="*/ 831056 h 962209"/>
                <a:gd name="connsiteX3" fmla="*/ 571499 w 1710425"/>
                <a:gd name="connsiteY3" fmla="*/ 359568 h 962209"/>
                <a:gd name="connsiteX4" fmla="*/ 611981 w 1710425"/>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695450 w 1728256"/>
                <a:gd name="connsiteY0" fmla="*/ 857250 h 962278"/>
                <a:gd name="connsiteX1" fmla="*/ 1574800 w 1728256"/>
                <a:gd name="connsiteY1" fmla="*/ 962025 h 962278"/>
                <a:gd name="connsiteX2" fmla="*/ 0 w 1728256"/>
                <a:gd name="connsiteY2" fmla="*/ 826293 h 962278"/>
                <a:gd name="connsiteX3" fmla="*/ 588168 w 1728256"/>
                <a:gd name="connsiteY3" fmla="*/ 359568 h 962278"/>
                <a:gd name="connsiteX4" fmla="*/ 628650 w 1728256"/>
                <a:gd name="connsiteY4" fmla="*/ 0 h 962278"/>
                <a:gd name="connsiteX0" fmla="*/ 1696407 w 1729213"/>
                <a:gd name="connsiteY0" fmla="*/ 857250 h 962278"/>
                <a:gd name="connsiteX1" fmla="*/ 1575757 w 1729213"/>
                <a:gd name="connsiteY1" fmla="*/ 962025 h 962278"/>
                <a:gd name="connsiteX2" fmla="*/ 957 w 1729213"/>
                <a:gd name="connsiteY2" fmla="*/ 826293 h 962278"/>
                <a:gd name="connsiteX3" fmla="*/ 589125 w 1729213"/>
                <a:gd name="connsiteY3" fmla="*/ 359568 h 962278"/>
                <a:gd name="connsiteX4" fmla="*/ 629607 w 1729213"/>
                <a:gd name="connsiteY4" fmla="*/ 0 h 962278"/>
                <a:gd name="connsiteX0" fmla="*/ 1715446 w 1749584"/>
                <a:gd name="connsiteY0" fmla="*/ 857250 h 962178"/>
                <a:gd name="connsiteX1" fmla="*/ 1594796 w 1749584"/>
                <a:gd name="connsiteY1" fmla="*/ 962025 h 962178"/>
                <a:gd name="connsiteX2" fmla="*/ 946 w 1749584"/>
                <a:gd name="connsiteY2" fmla="*/ 833436 h 962178"/>
                <a:gd name="connsiteX3" fmla="*/ 608164 w 1749584"/>
                <a:gd name="connsiteY3" fmla="*/ 359568 h 962178"/>
                <a:gd name="connsiteX4" fmla="*/ 648646 w 1749584"/>
                <a:gd name="connsiteY4" fmla="*/ 0 h 962178"/>
                <a:gd name="connsiteX0" fmla="*/ 1737332 w 1754060"/>
                <a:gd name="connsiteY0" fmla="*/ 857250 h 962031"/>
                <a:gd name="connsiteX1" fmla="*/ 1616682 w 1754060"/>
                <a:gd name="connsiteY1" fmla="*/ 962025 h 962031"/>
                <a:gd name="connsiteX2" fmla="*/ 275392 w 1754060"/>
                <a:gd name="connsiteY2" fmla="*/ 862217 h 962031"/>
                <a:gd name="connsiteX3" fmla="*/ 22832 w 1754060"/>
                <a:gd name="connsiteY3" fmla="*/ 833436 h 962031"/>
                <a:gd name="connsiteX4" fmla="*/ 630050 w 1754060"/>
                <a:gd name="connsiteY4" fmla="*/ 359568 h 962031"/>
                <a:gd name="connsiteX5" fmla="*/ 670532 w 1754060"/>
                <a:gd name="connsiteY5" fmla="*/ 0 h 962031"/>
                <a:gd name="connsiteX0" fmla="*/ 1730806 w 1747534"/>
                <a:gd name="connsiteY0" fmla="*/ 857250 h 962031"/>
                <a:gd name="connsiteX1" fmla="*/ 1610156 w 1747534"/>
                <a:gd name="connsiteY1" fmla="*/ 962025 h 962031"/>
                <a:gd name="connsiteX2" fmla="*/ 268866 w 1747534"/>
                <a:gd name="connsiteY2" fmla="*/ 862217 h 962031"/>
                <a:gd name="connsiteX3" fmla="*/ 16306 w 1747534"/>
                <a:gd name="connsiteY3" fmla="*/ 833436 h 962031"/>
                <a:gd name="connsiteX4" fmla="*/ 623524 w 1747534"/>
                <a:gd name="connsiteY4" fmla="*/ 359568 h 962031"/>
                <a:gd name="connsiteX5" fmla="*/ 664006 w 1747534"/>
                <a:gd name="connsiteY5" fmla="*/ 0 h 962031"/>
                <a:gd name="connsiteX0" fmla="*/ 1676823 w 1693551"/>
                <a:gd name="connsiteY0" fmla="*/ 857250 h 962031"/>
                <a:gd name="connsiteX1" fmla="*/ 1556173 w 1693551"/>
                <a:gd name="connsiteY1" fmla="*/ 962025 h 962031"/>
                <a:gd name="connsiteX2" fmla="*/ 214883 w 1693551"/>
                <a:gd name="connsiteY2" fmla="*/ 862217 h 962031"/>
                <a:gd name="connsiteX3" fmla="*/ 24235 w 1693551"/>
                <a:gd name="connsiteY3" fmla="*/ 781049 h 962031"/>
                <a:gd name="connsiteX4" fmla="*/ 569541 w 1693551"/>
                <a:gd name="connsiteY4" fmla="*/ 359568 h 962031"/>
                <a:gd name="connsiteX5" fmla="*/ 610023 w 1693551"/>
                <a:gd name="connsiteY5"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8445 w 1701973"/>
                <a:gd name="connsiteY5"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20975 w 1701973"/>
                <a:gd name="connsiteY5" fmla="*/ 164512 h 962031"/>
                <a:gd name="connsiteX6" fmla="*/ 618445 w 1701973"/>
                <a:gd name="connsiteY6" fmla="*/ 0 h 962031"/>
                <a:gd name="connsiteX0" fmla="*/ 1685245 w 1685245"/>
                <a:gd name="connsiteY0" fmla="*/ 857250 h 959650"/>
                <a:gd name="connsiteX1" fmla="*/ 1457439 w 1685245"/>
                <a:gd name="connsiteY1" fmla="*/ 959644 h 959650"/>
                <a:gd name="connsiteX2" fmla="*/ 223305 w 1685245"/>
                <a:gd name="connsiteY2" fmla="*/ 862217 h 959650"/>
                <a:gd name="connsiteX3" fmla="*/ 32657 w 1685245"/>
                <a:gd name="connsiteY3" fmla="*/ 781049 h 959650"/>
                <a:gd name="connsiteX4" fmla="*/ 577963 w 1685245"/>
                <a:gd name="connsiteY4" fmla="*/ 359568 h 959650"/>
                <a:gd name="connsiteX5" fmla="*/ 620975 w 1685245"/>
                <a:gd name="connsiteY5" fmla="*/ 164512 h 959650"/>
                <a:gd name="connsiteX6" fmla="*/ 618445 w 1685245"/>
                <a:gd name="connsiteY6" fmla="*/ 0 h 959650"/>
                <a:gd name="connsiteX0" fmla="*/ 1685245 w 1685245"/>
                <a:gd name="connsiteY0" fmla="*/ 857250 h 961822"/>
                <a:gd name="connsiteX1" fmla="*/ 1616337 w 1685245"/>
                <a:gd name="connsiteY1" fmla="*/ 924131 h 961822"/>
                <a:gd name="connsiteX2" fmla="*/ 1457439 w 1685245"/>
                <a:gd name="connsiteY2" fmla="*/ 959644 h 961822"/>
                <a:gd name="connsiteX3" fmla="*/ 223305 w 1685245"/>
                <a:gd name="connsiteY3" fmla="*/ 862217 h 961822"/>
                <a:gd name="connsiteX4" fmla="*/ 32657 w 1685245"/>
                <a:gd name="connsiteY4" fmla="*/ 781049 h 961822"/>
                <a:gd name="connsiteX5" fmla="*/ 577963 w 1685245"/>
                <a:gd name="connsiteY5" fmla="*/ 359568 h 961822"/>
                <a:gd name="connsiteX6" fmla="*/ 620975 w 1685245"/>
                <a:gd name="connsiteY6" fmla="*/ 164512 h 961822"/>
                <a:gd name="connsiteX7" fmla="*/ 618445 w 1685245"/>
                <a:gd name="connsiteY7" fmla="*/ 0 h 961822"/>
                <a:gd name="connsiteX0" fmla="*/ 1685245 w 1685245"/>
                <a:gd name="connsiteY0" fmla="*/ 857250 h 953018"/>
                <a:gd name="connsiteX1" fmla="*/ 1616337 w 1685245"/>
                <a:gd name="connsiteY1" fmla="*/ 924131 h 953018"/>
                <a:gd name="connsiteX2" fmla="*/ 1414576 w 1685245"/>
                <a:gd name="connsiteY2" fmla="*/ 950119 h 953018"/>
                <a:gd name="connsiteX3" fmla="*/ 223305 w 1685245"/>
                <a:gd name="connsiteY3" fmla="*/ 862217 h 953018"/>
                <a:gd name="connsiteX4" fmla="*/ 32657 w 1685245"/>
                <a:gd name="connsiteY4" fmla="*/ 781049 h 953018"/>
                <a:gd name="connsiteX5" fmla="*/ 577963 w 1685245"/>
                <a:gd name="connsiteY5" fmla="*/ 359568 h 953018"/>
                <a:gd name="connsiteX6" fmla="*/ 620975 w 1685245"/>
                <a:gd name="connsiteY6" fmla="*/ 164512 h 953018"/>
                <a:gd name="connsiteX7" fmla="*/ 618445 w 1685245"/>
                <a:gd name="connsiteY7" fmla="*/ 0 h 953018"/>
                <a:gd name="connsiteX0" fmla="*/ 1685245 w 1685245"/>
                <a:gd name="connsiteY0" fmla="*/ 857250 h 956840"/>
                <a:gd name="connsiteX1" fmla="*/ 1616337 w 1685245"/>
                <a:gd name="connsiteY1" fmla="*/ 924131 h 956840"/>
                <a:gd name="connsiteX2" fmla="*/ 1414576 w 1685245"/>
                <a:gd name="connsiteY2" fmla="*/ 950119 h 956840"/>
                <a:gd name="connsiteX3" fmla="*/ 223305 w 1685245"/>
                <a:gd name="connsiteY3" fmla="*/ 862217 h 956840"/>
                <a:gd name="connsiteX4" fmla="*/ 32657 w 1685245"/>
                <a:gd name="connsiteY4" fmla="*/ 781049 h 956840"/>
                <a:gd name="connsiteX5" fmla="*/ 577963 w 1685245"/>
                <a:gd name="connsiteY5" fmla="*/ 359568 h 956840"/>
                <a:gd name="connsiteX6" fmla="*/ 620975 w 1685245"/>
                <a:gd name="connsiteY6" fmla="*/ 164512 h 956840"/>
                <a:gd name="connsiteX7" fmla="*/ 618445 w 1685245"/>
                <a:gd name="connsiteY7" fmla="*/ 0 h 956840"/>
                <a:gd name="connsiteX0" fmla="*/ 1685245 w 1685245"/>
                <a:gd name="connsiteY0" fmla="*/ 857250 h 958892"/>
                <a:gd name="connsiteX1" fmla="*/ 1616337 w 1685245"/>
                <a:gd name="connsiteY1" fmla="*/ 924131 h 958892"/>
                <a:gd name="connsiteX2" fmla="*/ 14193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4193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18594 w 1685245"/>
                <a:gd name="connsiteY6" fmla="*/ 178799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18445 w 1685245"/>
                <a:gd name="connsiteY6" fmla="*/ 0 h 958892"/>
                <a:gd name="connsiteX0" fmla="*/ 1685245 w 1685245"/>
                <a:gd name="connsiteY0" fmla="*/ 497682 h 599324"/>
                <a:gd name="connsiteX1" fmla="*/ 1616337 w 1685245"/>
                <a:gd name="connsiteY1" fmla="*/ 564563 h 599324"/>
                <a:gd name="connsiteX2" fmla="*/ 1381238 w 1685245"/>
                <a:gd name="connsiteY2" fmla="*/ 592932 h 599324"/>
                <a:gd name="connsiteX3" fmla="*/ 223305 w 1685245"/>
                <a:gd name="connsiteY3" fmla="*/ 502649 h 599324"/>
                <a:gd name="connsiteX4" fmla="*/ 32657 w 1685245"/>
                <a:gd name="connsiteY4" fmla="*/ 421481 h 599324"/>
                <a:gd name="connsiteX5" fmla="*/ 577963 w 1685245"/>
                <a:gd name="connsiteY5" fmla="*/ 0 h 599324"/>
                <a:gd name="connsiteX0" fmla="*/ 1660892 w 1660892"/>
                <a:gd name="connsiteY0" fmla="*/ 497682 h 592932"/>
                <a:gd name="connsiteX1" fmla="*/ 1591984 w 1660892"/>
                <a:gd name="connsiteY1" fmla="*/ 564563 h 592932"/>
                <a:gd name="connsiteX2" fmla="*/ 1356885 w 1660892"/>
                <a:gd name="connsiteY2" fmla="*/ 592932 h 592932"/>
                <a:gd name="connsiteX3" fmla="*/ 1020483 w 1660892"/>
                <a:gd name="connsiteY3" fmla="*/ 564561 h 592932"/>
                <a:gd name="connsiteX4" fmla="*/ 8304 w 1660892"/>
                <a:gd name="connsiteY4" fmla="*/ 421481 h 592932"/>
                <a:gd name="connsiteX5" fmla="*/ 553610 w 1660892"/>
                <a:gd name="connsiteY5" fmla="*/ 0 h 592932"/>
                <a:gd name="connsiteX0" fmla="*/ 1143582 w 1143582"/>
                <a:gd name="connsiteY0" fmla="*/ 497682 h 592932"/>
                <a:gd name="connsiteX1" fmla="*/ 1074674 w 1143582"/>
                <a:gd name="connsiteY1" fmla="*/ 564563 h 592932"/>
                <a:gd name="connsiteX2" fmla="*/ 839575 w 1143582"/>
                <a:gd name="connsiteY2" fmla="*/ 592932 h 592932"/>
                <a:gd name="connsiteX3" fmla="*/ 503173 w 1143582"/>
                <a:gd name="connsiteY3" fmla="*/ 564561 h 592932"/>
                <a:gd name="connsiteX4" fmla="*/ 245850 w 1143582"/>
                <a:gd name="connsiteY4" fmla="*/ 483394 h 592932"/>
                <a:gd name="connsiteX5" fmla="*/ 36300 w 1143582"/>
                <a:gd name="connsiteY5" fmla="*/ 0 h 592932"/>
                <a:gd name="connsiteX0" fmla="*/ 927557 w 927557"/>
                <a:gd name="connsiteY0" fmla="*/ 59532 h 154782"/>
                <a:gd name="connsiteX1" fmla="*/ 858649 w 927557"/>
                <a:gd name="connsiteY1" fmla="*/ 126413 h 154782"/>
                <a:gd name="connsiteX2" fmla="*/ 623550 w 927557"/>
                <a:gd name="connsiteY2" fmla="*/ 154782 h 154782"/>
                <a:gd name="connsiteX3" fmla="*/ 287148 w 927557"/>
                <a:gd name="connsiteY3" fmla="*/ 126411 h 154782"/>
                <a:gd name="connsiteX4" fmla="*/ 29825 w 927557"/>
                <a:gd name="connsiteY4" fmla="*/ 45244 h 154782"/>
                <a:gd name="connsiteX5" fmla="*/ 94119 w 927557"/>
                <a:gd name="connsiteY5" fmla="*/ 0 h 154782"/>
                <a:gd name="connsiteX0" fmla="*/ 927557 w 927557"/>
                <a:gd name="connsiteY0" fmla="*/ 59532 h 154782"/>
                <a:gd name="connsiteX1" fmla="*/ 858649 w 927557"/>
                <a:gd name="connsiteY1" fmla="*/ 126413 h 154782"/>
                <a:gd name="connsiteX2" fmla="*/ 623550 w 927557"/>
                <a:gd name="connsiteY2" fmla="*/ 154782 h 154782"/>
                <a:gd name="connsiteX3" fmla="*/ 287148 w 927557"/>
                <a:gd name="connsiteY3" fmla="*/ 126411 h 154782"/>
                <a:gd name="connsiteX4" fmla="*/ 29825 w 927557"/>
                <a:gd name="connsiteY4" fmla="*/ 45244 h 154782"/>
                <a:gd name="connsiteX5" fmla="*/ 94119 w 927557"/>
                <a:gd name="connsiteY5" fmla="*/ 0 h 154782"/>
                <a:gd name="connsiteX0" fmla="*/ 928869 w 928869"/>
                <a:gd name="connsiteY0" fmla="*/ 59532 h 154782"/>
                <a:gd name="connsiteX1" fmla="*/ 859961 w 928869"/>
                <a:gd name="connsiteY1" fmla="*/ 126413 h 154782"/>
                <a:gd name="connsiteX2" fmla="*/ 624862 w 928869"/>
                <a:gd name="connsiteY2" fmla="*/ 154782 h 154782"/>
                <a:gd name="connsiteX3" fmla="*/ 288460 w 928869"/>
                <a:gd name="connsiteY3" fmla="*/ 126411 h 154782"/>
                <a:gd name="connsiteX4" fmla="*/ 31137 w 928869"/>
                <a:gd name="connsiteY4" fmla="*/ 45244 h 154782"/>
                <a:gd name="connsiteX5" fmla="*/ 95431 w 928869"/>
                <a:gd name="connsiteY5" fmla="*/ 0 h 154782"/>
                <a:gd name="connsiteX0" fmla="*/ 928869 w 928869"/>
                <a:gd name="connsiteY0" fmla="*/ 59532 h 154782"/>
                <a:gd name="connsiteX1" fmla="*/ 859961 w 928869"/>
                <a:gd name="connsiteY1" fmla="*/ 126413 h 154782"/>
                <a:gd name="connsiteX2" fmla="*/ 624862 w 928869"/>
                <a:gd name="connsiteY2" fmla="*/ 154782 h 154782"/>
                <a:gd name="connsiteX3" fmla="*/ 288460 w 928869"/>
                <a:gd name="connsiteY3" fmla="*/ 126411 h 154782"/>
                <a:gd name="connsiteX4" fmla="*/ 31137 w 928869"/>
                <a:gd name="connsiteY4" fmla="*/ 45244 h 154782"/>
                <a:gd name="connsiteX5" fmla="*/ 95431 w 928869"/>
                <a:gd name="connsiteY5" fmla="*/ 0 h 154782"/>
                <a:gd name="connsiteX0" fmla="*/ 928869 w 928869"/>
                <a:gd name="connsiteY0" fmla="*/ 59532 h 162179"/>
                <a:gd name="connsiteX1" fmla="*/ 859961 w 928869"/>
                <a:gd name="connsiteY1" fmla="*/ 126413 h 162179"/>
                <a:gd name="connsiteX2" fmla="*/ 624862 w 928869"/>
                <a:gd name="connsiteY2" fmla="*/ 154782 h 162179"/>
                <a:gd name="connsiteX3" fmla="*/ 288460 w 928869"/>
                <a:gd name="connsiteY3" fmla="*/ 126411 h 162179"/>
                <a:gd name="connsiteX4" fmla="*/ 31137 w 928869"/>
                <a:gd name="connsiteY4" fmla="*/ 45244 h 162179"/>
                <a:gd name="connsiteX5" fmla="*/ 95431 w 928869"/>
                <a:gd name="connsiteY5" fmla="*/ 0 h 162179"/>
                <a:gd name="connsiteX0" fmla="*/ 928869 w 928869"/>
                <a:gd name="connsiteY0" fmla="*/ 59532 h 164840"/>
                <a:gd name="connsiteX1" fmla="*/ 859961 w 928869"/>
                <a:gd name="connsiteY1" fmla="*/ 126413 h 164840"/>
                <a:gd name="connsiteX2" fmla="*/ 624862 w 928869"/>
                <a:gd name="connsiteY2" fmla="*/ 154782 h 164840"/>
                <a:gd name="connsiteX3" fmla="*/ 288460 w 928869"/>
                <a:gd name="connsiteY3" fmla="*/ 126411 h 164840"/>
                <a:gd name="connsiteX4" fmla="*/ 31137 w 928869"/>
                <a:gd name="connsiteY4" fmla="*/ 45244 h 164840"/>
                <a:gd name="connsiteX5" fmla="*/ 95431 w 928869"/>
                <a:gd name="connsiteY5" fmla="*/ 0 h 164840"/>
                <a:gd name="connsiteX0" fmla="*/ 928869 w 928869"/>
                <a:gd name="connsiteY0" fmla="*/ 59532 h 166155"/>
                <a:gd name="connsiteX1" fmla="*/ 859961 w 928869"/>
                <a:gd name="connsiteY1" fmla="*/ 126413 h 166155"/>
                <a:gd name="connsiteX2" fmla="*/ 691537 w 928869"/>
                <a:gd name="connsiteY2" fmla="*/ 157164 h 166155"/>
                <a:gd name="connsiteX3" fmla="*/ 288460 w 928869"/>
                <a:gd name="connsiteY3" fmla="*/ 126411 h 166155"/>
                <a:gd name="connsiteX4" fmla="*/ 31137 w 928869"/>
                <a:gd name="connsiteY4" fmla="*/ 45244 h 166155"/>
                <a:gd name="connsiteX5" fmla="*/ 95431 w 928869"/>
                <a:gd name="connsiteY5" fmla="*/ 0 h 166155"/>
                <a:gd name="connsiteX0" fmla="*/ 928869 w 928869"/>
                <a:gd name="connsiteY0" fmla="*/ 59532 h 162522"/>
                <a:gd name="connsiteX1" fmla="*/ 859961 w 928869"/>
                <a:gd name="connsiteY1" fmla="*/ 126413 h 162522"/>
                <a:gd name="connsiteX2" fmla="*/ 691537 w 928869"/>
                <a:gd name="connsiteY2" fmla="*/ 157164 h 162522"/>
                <a:gd name="connsiteX3" fmla="*/ 288460 w 928869"/>
                <a:gd name="connsiteY3" fmla="*/ 126411 h 162522"/>
                <a:gd name="connsiteX4" fmla="*/ 31137 w 928869"/>
                <a:gd name="connsiteY4" fmla="*/ 45244 h 162522"/>
                <a:gd name="connsiteX5" fmla="*/ 95431 w 928869"/>
                <a:gd name="connsiteY5" fmla="*/ 0 h 162522"/>
                <a:gd name="connsiteX0" fmla="*/ 919368 w 919368"/>
                <a:gd name="connsiteY0" fmla="*/ 59532 h 159830"/>
                <a:gd name="connsiteX1" fmla="*/ 850460 w 919368"/>
                <a:gd name="connsiteY1" fmla="*/ 126413 h 159830"/>
                <a:gd name="connsiteX2" fmla="*/ 682036 w 919368"/>
                <a:gd name="connsiteY2" fmla="*/ 157164 h 159830"/>
                <a:gd name="connsiteX3" fmla="*/ 155134 w 919368"/>
                <a:gd name="connsiteY3" fmla="*/ 121648 h 159830"/>
                <a:gd name="connsiteX4" fmla="*/ 21636 w 919368"/>
                <a:gd name="connsiteY4" fmla="*/ 45244 h 159830"/>
                <a:gd name="connsiteX5" fmla="*/ 85930 w 919368"/>
                <a:gd name="connsiteY5" fmla="*/ 0 h 159830"/>
                <a:gd name="connsiteX0" fmla="*/ 918286 w 918286"/>
                <a:gd name="connsiteY0" fmla="*/ 59532 h 159830"/>
                <a:gd name="connsiteX1" fmla="*/ 849378 w 918286"/>
                <a:gd name="connsiteY1" fmla="*/ 126413 h 159830"/>
                <a:gd name="connsiteX2" fmla="*/ 680954 w 918286"/>
                <a:gd name="connsiteY2" fmla="*/ 157164 h 159830"/>
                <a:gd name="connsiteX3" fmla="*/ 154052 w 918286"/>
                <a:gd name="connsiteY3" fmla="*/ 121648 h 159830"/>
                <a:gd name="connsiteX4" fmla="*/ 20554 w 918286"/>
                <a:gd name="connsiteY4" fmla="*/ 45244 h 159830"/>
                <a:gd name="connsiteX5" fmla="*/ 84848 w 918286"/>
                <a:gd name="connsiteY5" fmla="*/ 0 h 159830"/>
                <a:gd name="connsiteX0" fmla="*/ 915231 w 915231"/>
                <a:gd name="connsiteY0" fmla="*/ 59532 h 159830"/>
                <a:gd name="connsiteX1" fmla="*/ 846323 w 915231"/>
                <a:gd name="connsiteY1" fmla="*/ 126413 h 159830"/>
                <a:gd name="connsiteX2" fmla="*/ 677899 w 915231"/>
                <a:gd name="connsiteY2" fmla="*/ 157164 h 159830"/>
                <a:gd name="connsiteX3" fmla="*/ 150997 w 915231"/>
                <a:gd name="connsiteY3" fmla="*/ 121648 h 159830"/>
                <a:gd name="connsiteX4" fmla="*/ 22261 w 915231"/>
                <a:gd name="connsiteY4" fmla="*/ 59531 h 159830"/>
                <a:gd name="connsiteX5" fmla="*/ 81793 w 915231"/>
                <a:gd name="connsiteY5" fmla="*/ 0 h 159830"/>
                <a:gd name="connsiteX0" fmla="*/ 916746 w 916746"/>
                <a:gd name="connsiteY0" fmla="*/ 59532 h 159830"/>
                <a:gd name="connsiteX1" fmla="*/ 847838 w 916746"/>
                <a:gd name="connsiteY1" fmla="*/ 126413 h 159830"/>
                <a:gd name="connsiteX2" fmla="*/ 679414 w 916746"/>
                <a:gd name="connsiteY2" fmla="*/ 157164 h 159830"/>
                <a:gd name="connsiteX3" fmla="*/ 152512 w 916746"/>
                <a:gd name="connsiteY3" fmla="*/ 121648 h 159830"/>
                <a:gd name="connsiteX4" fmla="*/ 21395 w 916746"/>
                <a:gd name="connsiteY4" fmla="*/ 76199 h 159830"/>
                <a:gd name="connsiteX5" fmla="*/ 83308 w 916746"/>
                <a:gd name="connsiteY5" fmla="*/ 0 h 159830"/>
                <a:gd name="connsiteX0" fmla="*/ 917675 w 917675"/>
                <a:gd name="connsiteY0" fmla="*/ 59532 h 159830"/>
                <a:gd name="connsiteX1" fmla="*/ 848767 w 917675"/>
                <a:gd name="connsiteY1" fmla="*/ 126413 h 159830"/>
                <a:gd name="connsiteX2" fmla="*/ 680343 w 917675"/>
                <a:gd name="connsiteY2" fmla="*/ 157164 h 159830"/>
                <a:gd name="connsiteX3" fmla="*/ 153441 w 917675"/>
                <a:gd name="connsiteY3" fmla="*/ 121648 h 159830"/>
                <a:gd name="connsiteX4" fmla="*/ 22324 w 917675"/>
                <a:gd name="connsiteY4" fmla="*/ 76199 h 159830"/>
                <a:gd name="connsiteX5" fmla="*/ 84237 w 917675"/>
                <a:gd name="connsiteY5" fmla="*/ 0 h 159830"/>
                <a:gd name="connsiteX0" fmla="*/ 917675 w 917675"/>
                <a:gd name="connsiteY0" fmla="*/ 59609 h 159907"/>
                <a:gd name="connsiteX1" fmla="*/ 848767 w 917675"/>
                <a:gd name="connsiteY1" fmla="*/ 126490 h 159907"/>
                <a:gd name="connsiteX2" fmla="*/ 680343 w 917675"/>
                <a:gd name="connsiteY2" fmla="*/ 157241 h 159907"/>
                <a:gd name="connsiteX3" fmla="*/ 153441 w 917675"/>
                <a:gd name="connsiteY3" fmla="*/ 121725 h 159907"/>
                <a:gd name="connsiteX4" fmla="*/ 22324 w 917675"/>
                <a:gd name="connsiteY4" fmla="*/ 76276 h 159907"/>
                <a:gd name="connsiteX5" fmla="*/ 84237 w 917675"/>
                <a:gd name="connsiteY5" fmla="*/ 77 h 159907"/>
                <a:gd name="connsiteX0" fmla="*/ 902981 w 902981"/>
                <a:gd name="connsiteY0" fmla="*/ 28664 h 128962"/>
                <a:gd name="connsiteX1" fmla="*/ 834073 w 902981"/>
                <a:gd name="connsiteY1" fmla="*/ 95545 h 128962"/>
                <a:gd name="connsiteX2" fmla="*/ 665649 w 902981"/>
                <a:gd name="connsiteY2" fmla="*/ 126296 h 128962"/>
                <a:gd name="connsiteX3" fmla="*/ 138747 w 902981"/>
                <a:gd name="connsiteY3" fmla="*/ 90780 h 128962"/>
                <a:gd name="connsiteX4" fmla="*/ 7630 w 902981"/>
                <a:gd name="connsiteY4" fmla="*/ 45331 h 128962"/>
                <a:gd name="connsiteX5" fmla="*/ 57637 w 902981"/>
                <a:gd name="connsiteY5" fmla="*/ 88 h 128962"/>
                <a:gd name="connsiteX0" fmla="*/ 903972 w 903972"/>
                <a:gd name="connsiteY0" fmla="*/ 57202 h 157500"/>
                <a:gd name="connsiteX1" fmla="*/ 835064 w 903972"/>
                <a:gd name="connsiteY1" fmla="*/ 124083 h 157500"/>
                <a:gd name="connsiteX2" fmla="*/ 666640 w 903972"/>
                <a:gd name="connsiteY2" fmla="*/ 154834 h 157500"/>
                <a:gd name="connsiteX3" fmla="*/ 139738 w 903972"/>
                <a:gd name="connsiteY3" fmla="*/ 119318 h 157500"/>
                <a:gd name="connsiteX4" fmla="*/ 8621 w 903972"/>
                <a:gd name="connsiteY4" fmla="*/ 73869 h 157500"/>
                <a:gd name="connsiteX5" fmla="*/ 72915 w 903972"/>
                <a:gd name="connsiteY5" fmla="*/ 51 h 157500"/>
                <a:gd name="connsiteX0" fmla="*/ 914093 w 914093"/>
                <a:gd name="connsiteY0" fmla="*/ 57204 h 157502"/>
                <a:gd name="connsiteX1" fmla="*/ 845185 w 914093"/>
                <a:gd name="connsiteY1" fmla="*/ 124085 h 157502"/>
                <a:gd name="connsiteX2" fmla="*/ 676761 w 914093"/>
                <a:gd name="connsiteY2" fmla="*/ 154836 h 157502"/>
                <a:gd name="connsiteX3" fmla="*/ 149859 w 914093"/>
                <a:gd name="connsiteY3" fmla="*/ 119320 h 157502"/>
                <a:gd name="connsiteX4" fmla="*/ 18742 w 914093"/>
                <a:gd name="connsiteY4" fmla="*/ 73871 h 157502"/>
                <a:gd name="connsiteX5" fmla="*/ 83036 w 914093"/>
                <a:gd name="connsiteY5" fmla="*/ 53 h 157502"/>
                <a:gd name="connsiteX0" fmla="*/ 923611 w 923611"/>
                <a:gd name="connsiteY0" fmla="*/ 57204 h 157502"/>
                <a:gd name="connsiteX1" fmla="*/ 854703 w 923611"/>
                <a:gd name="connsiteY1" fmla="*/ 124085 h 157502"/>
                <a:gd name="connsiteX2" fmla="*/ 686279 w 923611"/>
                <a:gd name="connsiteY2" fmla="*/ 154836 h 157502"/>
                <a:gd name="connsiteX3" fmla="*/ 159377 w 923611"/>
                <a:gd name="connsiteY3" fmla="*/ 119320 h 157502"/>
                <a:gd name="connsiteX4" fmla="*/ 13972 w 923611"/>
                <a:gd name="connsiteY4" fmla="*/ 73871 h 157502"/>
                <a:gd name="connsiteX5" fmla="*/ 92554 w 923611"/>
                <a:gd name="connsiteY5" fmla="*/ 53 h 157502"/>
                <a:gd name="connsiteX0" fmla="*/ 910855 w 910855"/>
                <a:gd name="connsiteY0" fmla="*/ 57203 h 157674"/>
                <a:gd name="connsiteX1" fmla="*/ 841947 w 910855"/>
                <a:gd name="connsiteY1" fmla="*/ 124084 h 157674"/>
                <a:gd name="connsiteX2" fmla="*/ 673523 w 910855"/>
                <a:gd name="connsiteY2" fmla="*/ 154835 h 157674"/>
                <a:gd name="connsiteX3" fmla="*/ 153764 w 910855"/>
                <a:gd name="connsiteY3" fmla="*/ 116938 h 157674"/>
                <a:gd name="connsiteX4" fmla="*/ 1216 w 910855"/>
                <a:gd name="connsiteY4" fmla="*/ 73870 h 157674"/>
                <a:gd name="connsiteX5" fmla="*/ 79798 w 910855"/>
                <a:gd name="connsiteY5" fmla="*/ 52 h 157674"/>
                <a:gd name="connsiteX0" fmla="*/ 919840 w 919840"/>
                <a:gd name="connsiteY0" fmla="*/ 57204 h 157675"/>
                <a:gd name="connsiteX1" fmla="*/ 850932 w 919840"/>
                <a:gd name="connsiteY1" fmla="*/ 124085 h 157675"/>
                <a:gd name="connsiteX2" fmla="*/ 682508 w 919840"/>
                <a:gd name="connsiteY2" fmla="*/ 154836 h 157675"/>
                <a:gd name="connsiteX3" fmla="*/ 162749 w 919840"/>
                <a:gd name="connsiteY3" fmla="*/ 116939 h 157675"/>
                <a:gd name="connsiteX4" fmla="*/ 10201 w 919840"/>
                <a:gd name="connsiteY4" fmla="*/ 73871 h 157675"/>
                <a:gd name="connsiteX5" fmla="*/ 88783 w 919840"/>
                <a:gd name="connsiteY5" fmla="*/ 53 h 157675"/>
                <a:gd name="connsiteX0" fmla="*/ 922773 w 922773"/>
                <a:gd name="connsiteY0" fmla="*/ 57218 h 157689"/>
                <a:gd name="connsiteX1" fmla="*/ 853865 w 922773"/>
                <a:gd name="connsiteY1" fmla="*/ 124099 h 157689"/>
                <a:gd name="connsiteX2" fmla="*/ 685441 w 922773"/>
                <a:gd name="connsiteY2" fmla="*/ 154850 h 157689"/>
                <a:gd name="connsiteX3" fmla="*/ 165682 w 922773"/>
                <a:gd name="connsiteY3" fmla="*/ 116953 h 157689"/>
                <a:gd name="connsiteX4" fmla="*/ 13134 w 922773"/>
                <a:gd name="connsiteY4" fmla="*/ 73885 h 157689"/>
                <a:gd name="connsiteX5" fmla="*/ 91716 w 922773"/>
                <a:gd name="connsiteY5" fmla="*/ 67 h 157689"/>
                <a:gd name="connsiteX0" fmla="*/ 911192 w 911192"/>
                <a:gd name="connsiteY0" fmla="*/ 57237 h 157708"/>
                <a:gd name="connsiteX1" fmla="*/ 842284 w 911192"/>
                <a:gd name="connsiteY1" fmla="*/ 124118 h 157708"/>
                <a:gd name="connsiteX2" fmla="*/ 673860 w 911192"/>
                <a:gd name="connsiteY2" fmla="*/ 154869 h 157708"/>
                <a:gd name="connsiteX3" fmla="*/ 154101 w 911192"/>
                <a:gd name="connsiteY3" fmla="*/ 116972 h 157708"/>
                <a:gd name="connsiteX4" fmla="*/ 18222 w 911192"/>
                <a:gd name="connsiteY4" fmla="*/ 64379 h 157708"/>
                <a:gd name="connsiteX5" fmla="*/ 80135 w 911192"/>
                <a:gd name="connsiteY5" fmla="*/ 86 h 157708"/>
                <a:gd name="connsiteX0" fmla="*/ 915339 w 915339"/>
                <a:gd name="connsiteY0" fmla="*/ 57239 h 157710"/>
                <a:gd name="connsiteX1" fmla="*/ 846431 w 915339"/>
                <a:gd name="connsiteY1" fmla="*/ 124120 h 157710"/>
                <a:gd name="connsiteX2" fmla="*/ 678007 w 915339"/>
                <a:gd name="connsiteY2" fmla="*/ 154871 h 157710"/>
                <a:gd name="connsiteX3" fmla="*/ 158248 w 915339"/>
                <a:gd name="connsiteY3" fmla="*/ 116974 h 157710"/>
                <a:gd name="connsiteX4" fmla="*/ 22369 w 915339"/>
                <a:gd name="connsiteY4" fmla="*/ 64381 h 157710"/>
                <a:gd name="connsiteX5" fmla="*/ 84282 w 915339"/>
                <a:gd name="connsiteY5" fmla="*/ 88 h 157710"/>
                <a:gd name="connsiteX0" fmla="*/ 901952 w 901952"/>
                <a:gd name="connsiteY0" fmla="*/ 57384 h 157855"/>
                <a:gd name="connsiteX1" fmla="*/ 833044 w 901952"/>
                <a:gd name="connsiteY1" fmla="*/ 124265 h 157855"/>
                <a:gd name="connsiteX2" fmla="*/ 664620 w 901952"/>
                <a:gd name="connsiteY2" fmla="*/ 155016 h 157855"/>
                <a:gd name="connsiteX3" fmla="*/ 144861 w 901952"/>
                <a:gd name="connsiteY3" fmla="*/ 117119 h 157855"/>
                <a:gd name="connsiteX4" fmla="*/ 30413 w 901952"/>
                <a:gd name="connsiteY4" fmla="*/ 43095 h 157855"/>
                <a:gd name="connsiteX5" fmla="*/ 70895 w 901952"/>
                <a:gd name="connsiteY5" fmla="*/ 233 h 157855"/>
                <a:gd name="connsiteX0" fmla="*/ 904773 w 904773"/>
                <a:gd name="connsiteY0" fmla="*/ 57350 h 157821"/>
                <a:gd name="connsiteX1" fmla="*/ 835865 w 904773"/>
                <a:gd name="connsiteY1" fmla="*/ 124231 h 157821"/>
                <a:gd name="connsiteX2" fmla="*/ 667441 w 904773"/>
                <a:gd name="connsiteY2" fmla="*/ 154982 h 157821"/>
                <a:gd name="connsiteX3" fmla="*/ 147682 w 904773"/>
                <a:gd name="connsiteY3" fmla="*/ 117085 h 157821"/>
                <a:gd name="connsiteX4" fmla="*/ 28471 w 904773"/>
                <a:gd name="connsiteY4" fmla="*/ 45442 h 157821"/>
                <a:gd name="connsiteX5" fmla="*/ 73716 w 904773"/>
                <a:gd name="connsiteY5" fmla="*/ 199 h 157821"/>
                <a:gd name="connsiteX0" fmla="*/ 904773 w 904773"/>
                <a:gd name="connsiteY0" fmla="*/ 57350 h 159991"/>
                <a:gd name="connsiteX1" fmla="*/ 850153 w 904773"/>
                <a:gd name="connsiteY1" fmla="*/ 128994 h 159991"/>
                <a:gd name="connsiteX2" fmla="*/ 667441 w 904773"/>
                <a:gd name="connsiteY2" fmla="*/ 154982 h 159991"/>
                <a:gd name="connsiteX3" fmla="*/ 147682 w 904773"/>
                <a:gd name="connsiteY3" fmla="*/ 117085 h 159991"/>
                <a:gd name="connsiteX4" fmla="*/ 28471 w 904773"/>
                <a:gd name="connsiteY4" fmla="*/ 45442 h 159991"/>
                <a:gd name="connsiteX5" fmla="*/ 73716 w 904773"/>
                <a:gd name="connsiteY5" fmla="*/ 199 h 159991"/>
                <a:gd name="connsiteX0" fmla="*/ 891251 w 891251"/>
                <a:gd name="connsiteY0" fmla="*/ 57252 h 159893"/>
                <a:gd name="connsiteX1" fmla="*/ 836631 w 891251"/>
                <a:gd name="connsiteY1" fmla="*/ 128896 h 159893"/>
                <a:gd name="connsiteX2" fmla="*/ 653919 w 891251"/>
                <a:gd name="connsiteY2" fmla="*/ 154884 h 159893"/>
                <a:gd name="connsiteX3" fmla="*/ 130985 w 891251"/>
                <a:gd name="connsiteY3" fmla="*/ 116987 h 159893"/>
                <a:gd name="connsiteX4" fmla="*/ 14949 w 891251"/>
                <a:gd name="connsiteY4" fmla="*/ 45344 h 159893"/>
                <a:gd name="connsiteX5" fmla="*/ 60194 w 891251"/>
                <a:gd name="connsiteY5" fmla="*/ 101 h 159893"/>
                <a:gd name="connsiteX0" fmla="*/ 878053 w 878053"/>
                <a:gd name="connsiteY0" fmla="*/ 57252 h 159893"/>
                <a:gd name="connsiteX1" fmla="*/ 823433 w 878053"/>
                <a:gd name="connsiteY1" fmla="*/ 128896 h 159893"/>
                <a:gd name="connsiteX2" fmla="*/ 640721 w 878053"/>
                <a:gd name="connsiteY2" fmla="*/ 154884 h 159893"/>
                <a:gd name="connsiteX3" fmla="*/ 117787 w 878053"/>
                <a:gd name="connsiteY3" fmla="*/ 116987 h 159893"/>
                <a:gd name="connsiteX4" fmla="*/ 1751 w 878053"/>
                <a:gd name="connsiteY4" fmla="*/ 45344 h 159893"/>
                <a:gd name="connsiteX5" fmla="*/ 46996 w 878053"/>
                <a:gd name="connsiteY5" fmla="*/ 101 h 159893"/>
                <a:gd name="connsiteX0" fmla="*/ 881139 w 881139"/>
                <a:gd name="connsiteY0" fmla="*/ 57228 h 159869"/>
                <a:gd name="connsiteX1" fmla="*/ 826519 w 881139"/>
                <a:gd name="connsiteY1" fmla="*/ 128872 h 159869"/>
                <a:gd name="connsiteX2" fmla="*/ 643807 w 881139"/>
                <a:gd name="connsiteY2" fmla="*/ 154860 h 159869"/>
                <a:gd name="connsiteX3" fmla="*/ 120873 w 881139"/>
                <a:gd name="connsiteY3" fmla="*/ 116963 h 159869"/>
                <a:gd name="connsiteX4" fmla="*/ 1662 w 881139"/>
                <a:gd name="connsiteY4" fmla="*/ 54845 h 159869"/>
                <a:gd name="connsiteX5" fmla="*/ 50082 w 881139"/>
                <a:gd name="connsiteY5" fmla="*/ 77 h 159869"/>
                <a:gd name="connsiteX0" fmla="*/ 888020 w 888020"/>
                <a:gd name="connsiteY0" fmla="*/ 57241 h 159882"/>
                <a:gd name="connsiteX1" fmla="*/ 833400 w 888020"/>
                <a:gd name="connsiteY1" fmla="*/ 128885 h 159882"/>
                <a:gd name="connsiteX2" fmla="*/ 650688 w 888020"/>
                <a:gd name="connsiteY2" fmla="*/ 154873 h 159882"/>
                <a:gd name="connsiteX3" fmla="*/ 127754 w 888020"/>
                <a:gd name="connsiteY3" fmla="*/ 116976 h 159882"/>
                <a:gd name="connsiteX4" fmla="*/ 8543 w 888020"/>
                <a:gd name="connsiteY4" fmla="*/ 54858 h 159882"/>
                <a:gd name="connsiteX5" fmla="*/ 56963 w 888020"/>
                <a:gd name="connsiteY5" fmla="*/ 90 h 159882"/>
                <a:gd name="connsiteX0" fmla="*/ 898388 w 898388"/>
                <a:gd name="connsiteY0" fmla="*/ 57217 h 159858"/>
                <a:gd name="connsiteX1" fmla="*/ 843768 w 898388"/>
                <a:gd name="connsiteY1" fmla="*/ 128861 h 159858"/>
                <a:gd name="connsiteX2" fmla="*/ 661056 w 898388"/>
                <a:gd name="connsiteY2" fmla="*/ 154849 h 159858"/>
                <a:gd name="connsiteX3" fmla="*/ 138122 w 898388"/>
                <a:gd name="connsiteY3" fmla="*/ 116952 h 159858"/>
                <a:gd name="connsiteX4" fmla="*/ 6211 w 898388"/>
                <a:gd name="connsiteY4" fmla="*/ 67534 h 159858"/>
                <a:gd name="connsiteX5" fmla="*/ 67331 w 898388"/>
                <a:gd name="connsiteY5" fmla="*/ 66 h 159858"/>
                <a:gd name="connsiteX0" fmla="*/ 898388 w 898388"/>
                <a:gd name="connsiteY0" fmla="*/ 57217 h 436457"/>
                <a:gd name="connsiteX1" fmla="*/ 431811 w 898388"/>
                <a:gd name="connsiteY1" fmla="*/ 431280 h 436457"/>
                <a:gd name="connsiteX2" fmla="*/ 661056 w 898388"/>
                <a:gd name="connsiteY2" fmla="*/ 154849 h 436457"/>
                <a:gd name="connsiteX3" fmla="*/ 138122 w 898388"/>
                <a:gd name="connsiteY3" fmla="*/ 116952 h 436457"/>
                <a:gd name="connsiteX4" fmla="*/ 6211 w 898388"/>
                <a:gd name="connsiteY4" fmla="*/ 67534 h 436457"/>
                <a:gd name="connsiteX5" fmla="*/ 67331 w 898388"/>
                <a:gd name="connsiteY5" fmla="*/ 66 h 436457"/>
                <a:gd name="connsiteX0" fmla="*/ 324507 w 665895"/>
                <a:gd name="connsiteY0" fmla="*/ 583474 h 583915"/>
                <a:gd name="connsiteX1" fmla="*/ 431811 w 665895"/>
                <a:gd name="connsiteY1" fmla="*/ 431280 h 583915"/>
                <a:gd name="connsiteX2" fmla="*/ 661056 w 665895"/>
                <a:gd name="connsiteY2" fmla="*/ 154849 h 583915"/>
                <a:gd name="connsiteX3" fmla="*/ 138122 w 665895"/>
                <a:gd name="connsiteY3" fmla="*/ 116952 h 583915"/>
                <a:gd name="connsiteX4" fmla="*/ 6211 w 665895"/>
                <a:gd name="connsiteY4" fmla="*/ 67534 h 583915"/>
                <a:gd name="connsiteX5" fmla="*/ 67331 w 665895"/>
                <a:gd name="connsiteY5" fmla="*/ 66 h 583915"/>
                <a:gd name="connsiteX0" fmla="*/ 324507 w 663321"/>
                <a:gd name="connsiteY0" fmla="*/ 583474 h 583474"/>
                <a:gd name="connsiteX1" fmla="*/ 661056 w 663321"/>
                <a:gd name="connsiteY1" fmla="*/ 154849 h 583474"/>
                <a:gd name="connsiteX2" fmla="*/ 138122 w 663321"/>
                <a:gd name="connsiteY2" fmla="*/ 116952 h 583474"/>
                <a:gd name="connsiteX3" fmla="*/ 6211 w 663321"/>
                <a:gd name="connsiteY3" fmla="*/ 67534 h 583474"/>
                <a:gd name="connsiteX4" fmla="*/ 67331 w 663321"/>
                <a:gd name="connsiteY4" fmla="*/ 66 h 583474"/>
                <a:gd name="connsiteX0" fmla="*/ 324507 w 386487"/>
                <a:gd name="connsiteY0" fmla="*/ 583474 h 583474"/>
                <a:gd name="connsiteX1" fmla="*/ 368162 w 386487"/>
                <a:gd name="connsiteY1" fmla="*/ 169136 h 583474"/>
                <a:gd name="connsiteX2" fmla="*/ 138122 w 386487"/>
                <a:gd name="connsiteY2" fmla="*/ 116952 h 583474"/>
                <a:gd name="connsiteX3" fmla="*/ 6211 w 386487"/>
                <a:gd name="connsiteY3" fmla="*/ 67534 h 583474"/>
                <a:gd name="connsiteX4" fmla="*/ 67331 w 386487"/>
                <a:gd name="connsiteY4" fmla="*/ 66 h 583474"/>
                <a:gd name="connsiteX0" fmla="*/ 324507 w 376130"/>
                <a:gd name="connsiteY0" fmla="*/ 583474 h 583474"/>
                <a:gd name="connsiteX1" fmla="*/ 368162 w 376130"/>
                <a:gd name="connsiteY1" fmla="*/ 169136 h 583474"/>
                <a:gd name="connsiteX2" fmla="*/ 138122 w 376130"/>
                <a:gd name="connsiteY2" fmla="*/ 116952 h 583474"/>
                <a:gd name="connsiteX3" fmla="*/ 6211 w 376130"/>
                <a:gd name="connsiteY3" fmla="*/ 67534 h 583474"/>
                <a:gd name="connsiteX4" fmla="*/ 67331 w 376130"/>
                <a:gd name="connsiteY4" fmla="*/ 66 h 583474"/>
                <a:gd name="connsiteX0" fmla="*/ 324507 w 376130"/>
                <a:gd name="connsiteY0" fmla="*/ 583474 h 583474"/>
                <a:gd name="connsiteX1" fmla="*/ 368162 w 376130"/>
                <a:gd name="connsiteY1" fmla="*/ 185804 h 583474"/>
                <a:gd name="connsiteX2" fmla="*/ 138122 w 376130"/>
                <a:gd name="connsiteY2" fmla="*/ 116952 h 583474"/>
                <a:gd name="connsiteX3" fmla="*/ 6211 w 376130"/>
                <a:gd name="connsiteY3" fmla="*/ 67534 h 583474"/>
                <a:gd name="connsiteX4" fmla="*/ 67331 w 376130"/>
                <a:gd name="connsiteY4" fmla="*/ 66 h 583474"/>
                <a:gd name="connsiteX0" fmla="*/ 324507 w 355635"/>
                <a:gd name="connsiteY0" fmla="*/ 583474 h 583474"/>
                <a:gd name="connsiteX1" fmla="*/ 318156 w 355635"/>
                <a:gd name="connsiteY1" fmla="*/ 183423 h 583474"/>
                <a:gd name="connsiteX2" fmla="*/ 138122 w 355635"/>
                <a:gd name="connsiteY2" fmla="*/ 116952 h 583474"/>
                <a:gd name="connsiteX3" fmla="*/ 6211 w 355635"/>
                <a:gd name="connsiteY3" fmla="*/ 67534 h 583474"/>
                <a:gd name="connsiteX4" fmla="*/ 67331 w 355635"/>
                <a:gd name="connsiteY4" fmla="*/ 66 h 583474"/>
                <a:gd name="connsiteX0" fmla="*/ 324507 w 324507"/>
                <a:gd name="connsiteY0" fmla="*/ 583474 h 583474"/>
                <a:gd name="connsiteX1" fmla="*/ 318156 w 324507"/>
                <a:gd name="connsiteY1" fmla="*/ 183423 h 583474"/>
                <a:gd name="connsiteX2" fmla="*/ 138122 w 324507"/>
                <a:gd name="connsiteY2" fmla="*/ 116952 h 583474"/>
                <a:gd name="connsiteX3" fmla="*/ 6211 w 324507"/>
                <a:gd name="connsiteY3" fmla="*/ 67534 h 583474"/>
                <a:gd name="connsiteX4" fmla="*/ 67331 w 324507"/>
                <a:gd name="connsiteY4" fmla="*/ 66 h 583474"/>
                <a:gd name="connsiteX0" fmla="*/ 324507 w 336486"/>
                <a:gd name="connsiteY0" fmla="*/ 583474 h 583474"/>
                <a:gd name="connsiteX1" fmla="*/ 334824 w 336486"/>
                <a:gd name="connsiteY1" fmla="*/ 181042 h 583474"/>
                <a:gd name="connsiteX2" fmla="*/ 138122 w 336486"/>
                <a:gd name="connsiteY2" fmla="*/ 116952 h 583474"/>
                <a:gd name="connsiteX3" fmla="*/ 6211 w 336486"/>
                <a:gd name="connsiteY3" fmla="*/ 67534 h 583474"/>
                <a:gd name="connsiteX4" fmla="*/ 67331 w 336486"/>
                <a:gd name="connsiteY4" fmla="*/ 66 h 583474"/>
                <a:gd name="connsiteX0" fmla="*/ 324507 w 347837"/>
                <a:gd name="connsiteY0" fmla="*/ 583474 h 583474"/>
                <a:gd name="connsiteX1" fmla="*/ 346731 w 347837"/>
                <a:gd name="connsiteY1" fmla="*/ 178661 h 583474"/>
                <a:gd name="connsiteX2" fmla="*/ 138122 w 347837"/>
                <a:gd name="connsiteY2" fmla="*/ 116952 h 583474"/>
                <a:gd name="connsiteX3" fmla="*/ 6211 w 347837"/>
                <a:gd name="connsiteY3" fmla="*/ 67534 h 583474"/>
                <a:gd name="connsiteX4" fmla="*/ 67331 w 347837"/>
                <a:gd name="connsiteY4" fmla="*/ 66 h 583474"/>
                <a:gd name="connsiteX0" fmla="*/ 324507 w 332144"/>
                <a:gd name="connsiteY0" fmla="*/ 583474 h 583474"/>
                <a:gd name="connsiteX1" fmla="*/ 330063 w 332144"/>
                <a:gd name="connsiteY1" fmla="*/ 178661 h 583474"/>
                <a:gd name="connsiteX2" fmla="*/ 138122 w 332144"/>
                <a:gd name="connsiteY2" fmla="*/ 116952 h 583474"/>
                <a:gd name="connsiteX3" fmla="*/ 6211 w 332144"/>
                <a:gd name="connsiteY3" fmla="*/ 67534 h 583474"/>
                <a:gd name="connsiteX4" fmla="*/ 67331 w 332144"/>
                <a:gd name="connsiteY4" fmla="*/ 66 h 583474"/>
                <a:gd name="connsiteX0" fmla="*/ 319744 w 341068"/>
                <a:gd name="connsiteY0" fmla="*/ 816837 h 816837"/>
                <a:gd name="connsiteX1" fmla="*/ 330063 w 341068"/>
                <a:gd name="connsiteY1" fmla="*/ 178661 h 816837"/>
                <a:gd name="connsiteX2" fmla="*/ 138122 w 341068"/>
                <a:gd name="connsiteY2" fmla="*/ 116952 h 816837"/>
                <a:gd name="connsiteX3" fmla="*/ 6211 w 341068"/>
                <a:gd name="connsiteY3" fmla="*/ 67534 h 816837"/>
                <a:gd name="connsiteX4" fmla="*/ 67331 w 341068"/>
                <a:gd name="connsiteY4" fmla="*/ 66 h 816837"/>
                <a:gd name="connsiteX0" fmla="*/ 319744 w 341068"/>
                <a:gd name="connsiteY0" fmla="*/ 816837 h 816837"/>
                <a:gd name="connsiteX1" fmla="*/ 330063 w 341068"/>
                <a:gd name="connsiteY1" fmla="*/ 226286 h 816837"/>
                <a:gd name="connsiteX2" fmla="*/ 138122 w 341068"/>
                <a:gd name="connsiteY2" fmla="*/ 116952 h 816837"/>
                <a:gd name="connsiteX3" fmla="*/ 6211 w 341068"/>
                <a:gd name="connsiteY3" fmla="*/ 67534 h 816837"/>
                <a:gd name="connsiteX4" fmla="*/ 67331 w 341068"/>
                <a:gd name="connsiteY4" fmla="*/ 66 h 816837"/>
                <a:gd name="connsiteX0" fmla="*/ 319744 w 331334"/>
                <a:gd name="connsiteY0" fmla="*/ 816837 h 816837"/>
                <a:gd name="connsiteX1" fmla="*/ 330063 w 331334"/>
                <a:gd name="connsiteY1" fmla="*/ 226286 h 816837"/>
                <a:gd name="connsiteX2" fmla="*/ 138122 w 331334"/>
                <a:gd name="connsiteY2" fmla="*/ 116952 h 816837"/>
                <a:gd name="connsiteX3" fmla="*/ 6211 w 331334"/>
                <a:gd name="connsiteY3" fmla="*/ 67534 h 816837"/>
                <a:gd name="connsiteX4" fmla="*/ 67331 w 331334"/>
                <a:gd name="connsiteY4" fmla="*/ 66 h 816837"/>
                <a:gd name="connsiteX0" fmla="*/ 319744 w 330191"/>
                <a:gd name="connsiteY0" fmla="*/ 816837 h 816837"/>
                <a:gd name="connsiteX1" fmla="*/ 330063 w 330191"/>
                <a:gd name="connsiteY1" fmla="*/ 226286 h 816837"/>
                <a:gd name="connsiteX2" fmla="*/ 138122 w 330191"/>
                <a:gd name="connsiteY2" fmla="*/ 116952 h 816837"/>
                <a:gd name="connsiteX3" fmla="*/ 6211 w 330191"/>
                <a:gd name="connsiteY3" fmla="*/ 67534 h 816837"/>
                <a:gd name="connsiteX4" fmla="*/ 67331 w 330191"/>
                <a:gd name="connsiteY4" fmla="*/ 66 h 816837"/>
                <a:gd name="connsiteX0" fmla="*/ 319744 w 330344"/>
                <a:gd name="connsiteY0" fmla="*/ 816837 h 816837"/>
                <a:gd name="connsiteX1" fmla="*/ 330063 w 330344"/>
                <a:gd name="connsiteY1" fmla="*/ 226286 h 816837"/>
                <a:gd name="connsiteX2" fmla="*/ 138122 w 330344"/>
                <a:gd name="connsiteY2" fmla="*/ 116952 h 816837"/>
                <a:gd name="connsiteX3" fmla="*/ 6211 w 330344"/>
                <a:gd name="connsiteY3" fmla="*/ 67534 h 816837"/>
                <a:gd name="connsiteX4" fmla="*/ 67331 w 330344"/>
                <a:gd name="connsiteY4" fmla="*/ 66 h 816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344" h="816837">
                  <a:moveTo>
                    <a:pt x="319744" y="816837"/>
                  </a:moveTo>
                  <a:cubicBezTo>
                    <a:pt x="318420" y="679915"/>
                    <a:pt x="327241" y="346764"/>
                    <a:pt x="330063" y="226286"/>
                  </a:cubicBezTo>
                  <a:cubicBezTo>
                    <a:pt x="333130" y="95351"/>
                    <a:pt x="313756" y="128791"/>
                    <a:pt x="138122" y="116952"/>
                  </a:cubicBezTo>
                  <a:cubicBezTo>
                    <a:pt x="-10839" y="103459"/>
                    <a:pt x="-7711" y="85558"/>
                    <a:pt x="6211" y="67534"/>
                  </a:cubicBezTo>
                  <a:cubicBezTo>
                    <a:pt x="26163" y="41703"/>
                    <a:pt x="61774" y="-1917"/>
                    <a:pt x="67331" y="66"/>
                  </a:cubicBezTo>
                </a:path>
              </a:pathLst>
            </a:custGeom>
            <a:noFill/>
            <a:ln w="28575">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34" name="Bild 2" descr="PP.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758377" y="5080055"/>
              <a:ext cx="698884" cy="1117093"/>
            </a:xfrm>
            <a:prstGeom prst="rect">
              <a:avLst/>
            </a:prstGeom>
          </p:spPr>
        </p:pic>
        <p:sp>
          <p:nvSpPr>
            <p:cNvPr id="35" name="Freihandform 34"/>
            <p:cNvSpPr/>
            <p:nvPr/>
          </p:nvSpPr>
          <p:spPr>
            <a:xfrm>
              <a:off x="2051544" y="4538003"/>
              <a:ext cx="561002" cy="1518565"/>
            </a:xfrm>
            <a:custGeom>
              <a:avLst/>
              <a:gdLst>
                <a:gd name="connsiteX0" fmla="*/ 1733550 w 1733550"/>
                <a:gd name="connsiteY0" fmla="*/ 857250 h 962025"/>
                <a:gd name="connsiteX1" fmla="*/ 1612900 w 1733550"/>
                <a:gd name="connsiteY1" fmla="*/ 962025 h 962025"/>
                <a:gd name="connsiteX2" fmla="*/ 0 w 1733550"/>
                <a:gd name="connsiteY2" fmla="*/ 838200 h 962025"/>
                <a:gd name="connsiteX3" fmla="*/ 666750 w 1733550"/>
                <a:gd name="connsiteY3" fmla="*/ 323850 h 962025"/>
                <a:gd name="connsiteX4" fmla="*/ 666750 w 1733550"/>
                <a:gd name="connsiteY4" fmla="*/ 0 h 962025"/>
                <a:gd name="connsiteX0" fmla="*/ 1756203 w 1756203"/>
                <a:gd name="connsiteY0" fmla="*/ 857250 h 962025"/>
                <a:gd name="connsiteX1" fmla="*/ 1635553 w 1756203"/>
                <a:gd name="connsiteY1" fmla="*/ 962025 h 962025"/>
                <a:gd name="connsiteX2" fmla="*/ 22653 w 1756203"/>
                <a:gd name="connsiteY2" fmla="*/ 838200 h 962025"/>
                <a:gd name="connsiteX3" fmla="*/ 689403 w 1756203"/>
                <a:gd name="connsiteY3" fmla="*/ 323850 h 962025"/>
                <a:gd name="connsiteX4" fmla="*/ 689403 w 1756203"/>
                <a:gd name="connsiteY4" fmla="*/ 0 h 962025"/>
                <a:gd name="connsiteX0" fmla="*/ 1756203 w 1756203"/>
                <a:gd name="connsiteY0" fmla="*/ 857250 h 962025"/>
                <a:gd name="connsiteX1" fmla="*/ 1635553 w 1756203"/>
                <a:gd name="connsiteY1" fmla="*/ 962025 h 962025"/>
                <a:gd name="connsiteX2" fmla="*/ 22653 w 1756203"/>
                <a:gd name="connsiteY2" fmla="*/ 838200 h 962025"/>
                <a:gd name="connsiteX3" fmla="*/ 689403 w 1756203"/>
                <a:gd name="connsiteY3" fmla="*/ 323850 h 962025"/>
                <a:gd name="connsiteX4" fmla="*/ 689403 w 1756203"/>
                <a:gd name="connsiteY4" fmla="*/ 0 h 962025"/>
                <a:gd name="connsiteX0" fmla="*/ 1756203 w 1791674"/>
                <a:gd name="connsiteY0" fmla="*/ 857250 h 962125"/>
                <a:gd name="connsiteX1" fmla="*/ 1635553 w 1791674"/>
                <a:gd name="connsiteY1" fmla="*/ 962025 h 962125"/>
                <a:gd name="connsiteX2" fmla="*/ 22653 w 1791674"/>
                <a:gd name="connsiteY2" fmla="*/ 838200 h 962125"/>
                <a:gd name="connsiteX3" fmla="*/ 689403 w 1791674"/>
                <a:gd name="connsiteY3" fmla="*/ 323850 h 962125"/>
                <a:gd name="connsiteX4" fmla="*/ 689403 w 1791674"/>
                <a:gd name="connsiteY4" fmla="*/ 0 h 962125"/>
                <a:gd name="connsiteX0" fmla="*/ 1758028 w 1793499"/>
                <a:gd name="connsiteY0" fmla="*/ 857250 h 962125"/>
                <a:gd name="connsiteX1" fmla="*/ 1637378 w 1793499"/>
                <a:gd name="connsiteY1" fmla="*/ 962025 h 962125"/>
                <a:gd name="connsiteX2" fmla="*/ 24478 w 1793499"/>
                <a:gd name="connsiteY2" fmla="*/ 838200 h 962125"/>
                <a:gd name="connsiteX3" fmla="*/ 665034 w 1793499"/>
                <a:gd name="connsiteY3" fmla="*/ 352425 h 962125"/>
                <a:gd name="connsiteX4" fmla="*/ 691228 w 1793499"/>
                <a:gd name="connsiteY4" fmla="*/ 0 h 962125"/>
                <a:gd name="connsiteX0" fmla="*/ 1757134 w 1792605"/>
                <a:gd name="connsiteY0" fmla="*/ 857250 h 962125"/>
                <a:gd name="connsiteX1" fmla="*/ 1636484 w 1792605"/>
                <a:gd name="connsiteY1" fmla="*/ 962025 h 962125"/>
                <a:gd name="connsiteX2" fmla="*/ 23584 w 1792605"/>
                <a:gd name="connsiteY2" fmla="*/ 838200 h 962125"/>
                <a:gd name="connsiteX3" fmla="*/ 664140 w 1792605"/>
                <a:gd name="connsiteY3" fmla="*/ 352425 h 962125"/>
                <a:gd name="connsiteX4" fmla="*/ 690334 w 1792605"/>
                <a:gd name="connsiteY4" fmla="*/ 0 h 962125"/>
                <a:gd name="connsiteX0" fmla="*/ 1756629 w 1792100"/>
                <a:gd name="connsiteY0" fmla="*/ 857250 h 962125"/>
                <a:gd name="connsiteX1" fmla="*/ 1635979 w 1792100"/>
                <a:gd name="connsiteY1" fmla="*/ 962025 h 962125"/>
                <a:gd name="connsiteX2" fmla="*/ 23079 w 1792100"/>
                <a:gd name="connsiteY2" fmla="*/ 838200 h 962125"/>
                <a:gd name="connsiteX3" fmla="*/ 663635 w 1792100"/>
                <a:gd name="connsiteY3" fmla="*/ 352425 h 962125"/>
                <a:gd name="connsiteX4" fmla="*/ 689829 w 1792100"/>
                <a:gd name="connsiteY4" fmla="*/ 0 h 962125"/>
                <a:gd name="connsiteX0" fmla="*/ 1757796 w 1793267"/>
                <a:gd name="connsiteY0" fmla="*/ 857250 h 962125"/>
                <a:gd name="connsiteX1" fmla="*/ 1637146 w 1793267"/>
                <a:gd name="connsiteY1" fmla="*/ 962025 h 962125"/>
                <a:gd name="connsiteX2" fmla="*/ 24246 w 1793267"/>
                <a:gd name="connsiteY2" fmla="*/ 838200 h 962125"/>
                <a:gd name="connsiteX3" fmla="*/ 664802 w 1793267"/>
                <a:gd name="connsiteY3" fmla="*/ 352425 h 962125"/>
                <a:gd name="connsiteX4" fmla="*/ 690996 w 1793267"/>
                <a:gd name="connsiteY4" fmla="*/ 0 h 962125"/>
                <a:gd name="connsiteX0" fmla="*/ 1759182 w 1794653"/>
                <a:gd name="connsiteY0" fmla="*/ 857250 h 962125"/>
                <a:gd name="connsiteX1" fmla="*/ 1638532 w 1794653"/>
                <a:gd name="connsiteY1" fmla="*/ 962025 h 962125"/>
                <a:gd name="connsiteX2" fmla="*/ 25632 w 1794653"/>
                <a:gd name="connsiteY2" fmla="*/ 838200 h 962125"/>
                <a:gd name="connsiteX3" fmla="*/ 647138 w 1794653"/>
                <a:gd name="connsiteY3" fmla="*/ 366712 h 962125"/>
                <a:gd name="connsiteX4" fmla="*/ 692382 w 1794653"/>
                <a:gd name="connsiteY4" fmla="*/ 0 h 962125"/>
                <a:gd name="connsiteX0" fmla="*/ 1758482 w 1793953"/>
                <a:gd name="connsiteY0" fmla="*/ 857250 h 962125"/>
                <a:gd name="connsiteX1" fmla="*/ 1637832 w 1793953"/>
                <a:gd name="connsiteY1" fmla="*/ 962025 h 962125"/>
                <a:gd name="connsiteX2" fmla="*/ 24932 w 1793953"/>
                <a:gd name="connsiteY2" fmla="*/ 838200 h 962125"/>
                <a:gd name="connsiteX3" fmla="*/ 655963 w 1793953"/>
                <a:gd name="connsiteY3" fmla="*/ 359568 h 962125"/>
                <a:gd name="connsiteX4" fmla="*/ 691682 w 1793953"/>
                <a:gd name="connsiteY4" fmla="*/ 0 h 962125"/>
                <a:gd name="connsiteX0" fmla="*/ 1758414 w 1793885"/>
                <a:gd name="connsiteY0" fmla="*/ 857250 h 962125"/>
                <a:gd name="connsiteX1" fmla="*/ 1637764 w 1793885"/>
                <a:gd name="connsiteY1" fmla="*/ 962025 h 962125"/>
                <a:gd name="connsiteX2" fmla="*/ 24864 w 1793885"/>
                <a:gd name="connsiteY2" fmla="*/ 838200 h 962125"/>
                <a:gd name="connsiteX3" fmla="*/ 655895 w 1793885"/>
                <a:gd name="connsiteY3" fmla="*/ 359568 h 962125"/>
                <a:gd name="connsiteX4" fmla="*/ 691614 w 1793885"/>
                <a:gd name="connsiteY4" fmla="*/ 0 h 962125"/>
                <a:gd name="connsiteX0" fmla="*/ 1758760 w 1794231"/>
                <a:gd name="connsiteY0" fmla="*/ 857250 h 962125"/>
                <a:gd name="connsiteX1" fmla="*/ 1638110 w 1794231"/>
                <a:gd name="connsiteY1" fmla="*/ 962025 h 962125"/>
                <a:gd name="connsiteX2" fmla="*/ 25210 w 1794231"/>
                <a:gd name="connsiteY2" fmla="*/ 838200 h 962125"/>
                <a:gd name="connsiteX3" fmla="*/ 651478 w 1794231"/>
                <a:gd name="connsiteY3" fmla="*/ 359568 h 962125"/>
                <a:gd name="connsiteX4" fmla="*/ 691960 w 1794231"/>
                <a:gd name="connsiteY4" fmla="*/ 0 h 962125"/>
                <a:gd name="connsiteX0" fmla="*/ 1759941 w 1795412"/>
                <a:gd name="connsiteY0" fmla="*/ 857250 h 962125"/>
                <a:gd name="connsiteX1" fmla="*/ 1639291 w 1795412"/>
                <a:gd name="connsiteY1" fmla="*/ 962025 h 962125"/>
                <a:gd name="connsiteX2" fmla="*/ 26391 w 1795412"/>
                <a:gd name="connsiteY2" fmla="*/ 838200 h 962125"/>
                <a:gd name="connsiteX3" fmla="*/ 652659 w 1795412"/>
                <a:gd name="connsiteY3" fmla="*/ 359568 h 962125"/>
                <a:gd name="connsiteX4" fmla="*/ 693141 w 1795412"/>
                <a:gd name="connsiteY4" fmla="*/ 0 h 962125"/>
                <a:gd name="connsiteX0" fmla="*/ 1759941 w 1795412"/>
                <a:gd name="connsiteY0" fmla="*/ 857250 h 962125"/>
                <a:gd name="connsiteX1" fmla="*/ 1639291 w 1795412"/>
                <a:gd name="connsiteY1" fmla="*/ 962025 h 962125"/>
                <a:gd name="connsiteX2" fmla="*/ 26391 w 1795412"/>
                <a:gd name="connsiteY2" fmla="*/ 838200 h 962125"/>
                <a:gd name="connsiteX3" fmla="*/ 652659 w 1795412"/>
                <a:gd name="connsiteY3" fmla="*/ 359568 h 962125"/>
                <a:gd name="connsiteX4" fmla="*/ 693141 w 1795412"/>
                <a:gd name="connsiteY4" fmla="*/ 0 h 962125"/>
                <a:gd name="connsiteX0" fmla="*/ 1759554 w 1795025"/>
                <a:gd name="connsiteY0" fmla="*/ 857250 h 962125"/>
                <a:gd name="connsiteX1" fmla="*/ 1638904 w 1795025"/>
                <a:gd name="connsiteY1" fmla="*/ 962025 h 962125"/>
                <a:gd name="connsiteX2" fmla="*/ 26004 w 1795025"/>
                <a:gd name="connsiteY2" fmla="*/ 838200 h 962125"/>
                <a:gd name="connsiteX3" fmla="*/ 652272 w 1795025"/>
                <a:gd name="connsiteY3" fmla="*/ 359568 h 962125"/>
                <a:gd name="connsiteX4" fmla="*/ 692754 w 1795025"/>
                <a:gd name="connsiteY4" fmla="*/ 0 h 962125"/>
                <a:gd name="connsiteX0" fmla="*/ 1696629 w 1727609"/>
                <a:gd name="connsiteY0" fmla="*/ 857250 h 962278"/>
                <a:gd name="connsiteX1" fmla="*/ 1575979 w 1727609"/>
                <a:gd name="connsiteY1" fmla="*/ 962025 h 962278"/>
                <a:gd name="connsiteX2" fmla="*/ 27373 w 1727609"/>
                <a:gd name="connsiteY2" fmla="*/ 826294 h 962278"/>
                <a:gd name="connsiteX3" fmla="*/ 589347 w 1727609"/>
                <a:gd name="connsiteY3" fmla="*/ 359568 h 962278"/>
                <a:gd name="connsiteX4" fmla="*/ 629829 w 1727609"/>
                <a:gd name="connsiteY4" fmla="*/ 0 h 962278"/>
                <a:gd name="connsiteX0" fmla="*/ 1704087 w 1735067"/>
                <a:gd name="connsiteY0" fmla="*/ 857250 h 962278"/>
                <a:gd name="connsiteX1" fmla="*/ 1583437 w 1735067"/>
                <a:gd name="connsiteY1" fmla="*/ 962025 h 962278"/>
                <a:gd name="connsiteX2" fmla="*/ 34831 w 1735067"/>
                <a:gd name="connsiteY2" fmla="*/ 826294 h 962278"/>
                <a:gd name="connsiteX3" fmla="*/ 596805 w 1735067"/>
                <a:gd name="connsiteY3" fmla="*/ 359568 h 962278"/>
                <a:gd name="connsiteX4" fmla="*/ 637287 w 1735067"/>
                <a:gd name="connsiteY4" fmla="*/ 0 h 962278"/>
                <a:gd name="connsiteX0" fmla="*/ 1685946 w 1716926"/>
                <a:gd name="connsiteY0" fmla="*/ 857250 h 962278"/>
                <a:gd name="connsiteX1" fmla="*/ 1565296 w 1716926"/>
                <a:gd name="connsiteY1" fmla="*/ 962025 h 962278"/>
                <a:gd name="connsiteX2" fmla="*/ 16690 w 1716926"/>
                <a:gd name="connsiteY2" fmla="*/ 826294 h 962278"/>
                <a:gd name="connsiteX3" fmla="*/ 578664 w 1716926"/>
                <a:gd name="connsiteY3" fmla="*/ 359568 h 962278"/>
                <a:gd name="connsiteX4" fmla="*/ 619146 w 1716926"/>
                <a:gd name="connsiteY4" fmla="*/ 0 h 962278"/>
                <a:gd name="connsiteX0" fmla="*/ 1716282 w 1749421"/>
                <a:gd name="connsiteY0" fmla="*/ 857250 h 962065"/>
                <a:gd name="connsiteX1" fmla="*/ 1595632 w 1749421"/>
                <a:gd name="connsiteY1" fmla="*/ 962025 h 962065"/>
                <a:gd name="connsiteX2" fmla="*/ 16070 w 1749421"/>
                <a:gd name="connsiteY2" fmla="*/ 845344 h 962065"/>
                <a:gd name="connsiteX3" fmla="*/ 609000 w 1749421"/>
                <a:gd name="connsiteY3" fmla="*/ 359568 h 962065"/>
                <a:gd name="connsiteX4" fmla="*/ 649482 w 1749421"/>
                <a:gd name="connsiteY4" fmla="*/ 0 h 962065"/>
                <a:gd name="connsiteX0" fmla="*/ 1716716 w 1749855"/>
                <a:gd name="connsiteY0" fmla="*/ 857250 h 962065"/>
                <a:gd name="connsiteX1" fmla="*/ 1596066 w 1749855"/>
                <a:gd name="connsiteY1" fmla="*/ 962025 h 962065"/>
                <a:gd name="connsiteX2" fmla="*/ 16504 w 1749855"/>
                <a:gd name="connsiteY2" fmla="*/ 845344 h 962065"/>
                <a:gd name="connsiteX3" fmla="*/ 609434 w 1749855"/>
                <a:gd name="connsiteY3" fmla="*/ 359568 h 962065"/>
                <a:gd name="connsiteX4" fmla="*/ 649916 w 1749855"/>
                <a:gd name="connsiteY4" fmla="*/ 0 h 962065"/>
                <a:gd name="connsiteX0" fmla="*/ 1716443 w 1749582"/>
                <a:gd name="connsiteY0" fmla="*/ 857250 h 962065"/>
                <a:gd name="connsiteX1" fmla="*/ 1595793 w 1749582"/>
                <a:gd name="connsiteY1" fmla="*/ 962025 h 962065"/>
                <a:gd name="connsiteX2" fmla="*/ 16231 w 1749582"/>
                <a:gd name="connsiteY2" fmla="*/ 845344 h 962065"/>
                <a:gd name="connsiteX3" fmla="*/ 609161 w 1749582"/>
                <a:gd name="connsiteY3" fmla="*/ 359568 h 962065"/>
                <a:gd name="connsiteX4" fmla="*/ 649643 w 1749582"/>
                <a:gd name="connsiteY4" fmla="*/ 0 h 962065"/>
                <a:gd name="connsiteX0" fmla="*/ 1702509 w 1735648"/>
                <a:gd name="connsiteY0" fmla="*/ 857250 h 962065"/>
                <a:gd name="connsiteX1" fmla="*/ 1581859 w 1735648"/>
                <a:gd name="connsiteY1" fmla="*/ 962025 h 962065"/>
                <a:gd name="connsiteX2" fmla="*/ 2297 w 1735648"/>
                <a:gd name="connsiteY2" fmla="*/ 845344 h 962065"/>
                <a:gd name="connsiteX3" fmla="*/ 595227 w 1735648"/>
                <a:gd name="connsiteY3" fmla="*/ 359568 h 962065"/>
                <a:gd name="connsiteX4" fmla="*/ 635709 w 1735648"/>
                <a:gd name="connsiteY4" fmla="*/ 0 h 962065"/>
                <a:gd name="connsiteX0" fmla="*/ 1702509 w 1735648"/>
                <a:gd name="connsiteY0" fmla="*/ 857250 h 962065"/>
                <a:gd name="connsiteX1" fmla="*/ 1581859 w 1735648"/>
                <a:gd name="connsiteY1" fmla="*/ 962025 h 962065"/>
                <a:gd name="connsiteX2" fmla="*/ 2297 w 1735648"/>
                <a:gd name="connsiteY2" fmla="*/ 845344 h 962065"/>
                <a:gd name="connsiteX3" fmla="*/ 595227 w 1735648"/>
                <a:gd name="connsiteY3" fmla="*/ 359568 h 962065"/>
                <a:gd name="connsiteX4" fmla="*/ 635709 w 1735648"/>
                <a:gd name="connsiteY4" fmla="*/ 0 h 962065"/>
                <a:gd name="connsiteX0" fmla="*/ 1681171 w 1712815"/>
                <a:gd name="connsiteY0" fmla="*/ 857250 h 962209"/>
                <a:gd name="connsiteX1" fmla="*/ 1560521 w 1712815"/>
                <a:gd name="connsiteY1" fmla="*/ 962025 h 962209"/>
                <a:gd name="connsiteX2" fmla="*/ 2390 w 1712815"/>
                <a:gd name="connsiteY2" fmla="*/ 831056 h 962209"/>
                <a:gd name="connsiteX3" fmla="*/ 573889 w 1712815"/>
                <a:gd name="connsiteY3" fmla="*/ 359568 h 962209"/>
                <a:gd name="connsiteX4" fmla="*/ 614371 w 1712815"/>
                <a:gd name="connsiteY4" fmla="*/ 0 h 962209"/>
                <a:gd name="connsiteX0" fmla="*/ 1681171 w 1712815"/>
                <a:gd name="connsiteY0" fmla="*/ 857250 h 962209"/>
                <a:gd name="connsiteX1" fmla="*/ 1560521 w 1712815"/>
                <a:gd name="connsiteY1" fmla="*/ 962025 h 962209"/>
                <a:gd name="connsiteX2" fmla="*/ 2390 w 1712815"/>
                <a:gd name="connsiteY2" fmla="*/ 831056 h 962209"/>
                <a:gd name="connsiteX3" fmla="*/ 573889 w 1712815"/>
                <a:gd name="connsiteY3" fmla="*/ 359568 h 962209"/>
                <a:gd name="connsiteX4" fmla="*/ 614371 w 1712815"/>
                <a:gd name="connsiteY4" fmla="*/ 0 h 962209"/>
                <a:gd name="connsiteX0" fmla="*/ 1681235 w 1712879"/>
                <a:gd name="connsiteY0" fmla="*/ 857250 h 962209"/>
                <a:gd name="connsiteX1" fmla="*/ 1560585 w 1712879"/>
                <a:gd name="connsiteY1" fmla="*/ 962025 h 962209"/>
                <a:gd name="connsiteX2" fmla="*/ 2454 w 1712879"/>
                <a:gd name="connsiteY2" fmla="*/ 831056 h 962209"/>
                <a:gd name="connsiteX3" fmla="*/ 573953 w 1712879"/>
                <a:gd name="connsiteY3" fmla="*/ 359568 h 962209"/>
                <a:gd name="connsiteX4" fmla="*/ 614435 w 1712879"/>
                <a:gd name="connsiteY4" fmla="*/ 0 h 962209"/>
                <a:gd name="connsiteX0" fmla="*/ 1678781 w 1710425"/>
                <a:gd name="connsiteY0" fmla="*/ 857250 h 962209"/>
                <a:gd name="connsiteX1" fmla="*/ 1558131 w 1710425"/>
                <a:gd name="connsiteY1" fmla="*/ 962025 h 962209"/>
                <a:gd name="connsiteX2" fmla="*/ 0 w 1710425"/>
                <a:gd name="connsiteY2" fmla="*/ 831056 h 962209"/>
                <a:gd name="connsiteX3" fmla="*/ 571499 w 1710425"/>
                <a:gd name="connsiteY3" fmla="*/ 359568 h 962209"/>
                <a:gd name="connsiteX4" fmla="*/ 611981 w 1710425"/>
                <a:gd name="connsiteY4" fmla="*/ 0 h 962209"/>
                <a:gd name="connsiteX0" fmla="*/ 1678781 w 1710425"/>
                <a:gd name="connsiteY0" fmla="*/ 857250 h 962209"/>
                <a:gd name="connsiteX1" fmla="*/ 1558131 w 1710425"/>
                <a:gd name="connsiteY1" fmla="*/ 962025 h 962209"/>
                <a:gd name="connsiteX2" fmla="*/ 0 w 1710425"/>
                <a:gd name="connsiteY2" fmla="*/ 831056 h 962209"/>
                <a:gd name="connsiteX3" fmla="*/ 571499 w 1710425"/>
                <a:gd name="connsiteY3" fmla="*/ 359568 h 962209"/>
                <a:gd name="connsiteX4" fmla="*/ 611981 w 1710425"/>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702594 w 1735900"/>
                <a:gd name="connsiteY0" fmla="*/ 857250 h 962209"/>
                <a:gd name="connsiteX1" fmla="*/ 1581944 w 1735900"/>
                <a:gd name="connsiteY1" fmla="*/ 962025 h 962209"/>
                <a:gd name="connsiteX2" fmla="*/ 0 w 1735900"/>
                <a:gd name="connsiteY2" fmla="*/ 831056 h 962209"/>
                <a:gd name="connsiteX3" fmla="*/ 595312 w 1735900"/>
                <a:gd name="connsiteY3" fmla="*/ 359568 h 962209"/>
                <a:gd name="connsiteX4" fmla="*/ 635794 w 1735900"/>
                <a:gd name="connsiteY4" fmla="*/ 0 h 962209"/>
                <a:gd name="connsiteX0" fmla="*/ 1695450 w 1728256"/>
                <a:gd name="connsiteY0" fmla="*/ 857250 h 962278"/>
                <a:gd name="connsiteX1" fmla="*/ 1574800 w 1728256"/>
                <a:gd name="connsiteY1" fmla="*/ 962025 h 962278"/>
                <a:gd name="connsiteX2" fmla="*/ 0 w 1728256"/>
                <a:gd name="connsiteY2" fmla="*/ 826293 h 962278"/>
                <a:gd name="connsiteX3" fmla="*/ 588168 w 1728256"/>
                <a:gd name="connsiteY3" fmla="*/ 359568 h 962278"/>
                <a:gd name="connsiteX4" fmla="*/ 628650 w 1728256"/>
                <a:gd name="connsiteY4" fmla="*/ 0 h 962278"/>
                <a:gd name="connsiteX0" fmla="*/ 1696407 w 1729213"/>
                <a:gd name="connsiteY0" fmla="*/ 857250 h 962278"/>
                <a:gd name="connsiteX1" fmla="*/ 1575757 w 1729213"/>
                <a:gd name="connsiteY1" fmla="*/ 962025 h 962278"/>
                <a:gd name="connsiteX2" fmla="*/ 957 w 1729213"/>
                <a:gd name="connsiteY2" fmla="*/ 826293 h 962278"/>
                <a:gd name="connsiteX3" fmla="*/ 589125 w 1729213"/>
                <a:gd name="connsiteY3" fmla="*/ 359568 h 962278"/>
                <a:gd name="connsiteX4" fmla="*/ 629607 w 1729213"/>
                <a:gd name="connsiteY4" fmla="*/ 0 h 962278"/>
                <a:gd name="connsiteX0" fmla="*/ 1715446 w 1749584"/>
                <a:gd name="connsiteY0" fmla="*/ 857250 h 962178"/>
                <a:gd name="connsiteX1" fmla="*/ 1594796 w 1749584"/>
                <a:gd name="connsiteY1" fmla="*/ 962025 h 962178"/>
                <a:gd name="connsiteX2" fmla="*/ 946 w 1749584"/>
                <a:gd name="connsiteY2" fmla="*/ 833436 h 962178"/>
                <a:gd name="connsiteX3" fmla="*/ 608164 w 1749584"/>
                <a:gd name="connsiteY3" fmla="*/ 359568 h 962178"/>
                <a:gd name="connsiteX4" fmla="*/ 648646 w 1749584"/>
                <a:gd name="connsiteY4" fmla="*/ 0 h 962178"/>
                <a:gd name="connsiteX0" fmla="*/ 1737332 w 1754060"/>
                <a:gd name="connsiteY0" fmla="*/ 857250 h 962031"/>
                <a:gd name="connsiteX1" fmla="*/ 1616682 w 1754060"/>
                <a:gd name="connsiteY1" fmla="*/ 962025 h 962031"/>
                <a:gd name="connsiteX2" fmla="*/ 275392 w 1754060"/>
                <a:gd name="connsiteY2" fmla="*/ 862217 h 962031"/>
                <a:gd name="connsiteX3" fmla="*/ 22832 w 1754060"/>
                <a:gd name="connsiteY3" fmla="*/ 833436 h 962031"/>
                <a:gd name="connsiteX4" fmla="*/ 630050 w 1754060"/>
                <a:gd name="connsiteY4" fmla="*/ 359568 h 962031"/>
                <a:gd name="connsiteX5" fmla="*/ 670532 w 1754060"/>
                <a:gd name="connsiteY5" fmla="*/ 0 h 962031"/>
                <a:gd name="connsiteX0" fmla="*/ 1730806 w 1747534"/>
                <a:gd name="connsiteY0" fmla="*/ 857250 h 962031"/>
                <a:gd name="connsiteX1" fmla="*/ 1610156 w 1747534"/>
                <a:gd name="connsiteY1" fmla="*/ 962025 h 962031"/>
                <a:gd name="connsiteX2" fmla="*/ 268866 w 1747534"/>
                <a:gd name="connsiteY2" fmla="*/ 862217 h 962031"/>
                <a:gd name="connsiteX3" fmla="*/ 16306 w 1747534"/>
                <a:gd name="connsiteY3" fmla="*/ 833436 h 962031"/>
                <a:gd name="connsiteX4" fmla="*/ 623524 w 1747534"/>
                <a:gd name="connsiteY4" fmla="*/ 359568 h 962031"/>
                <a:gd name="connsiteX5" fmla="*/ 664006 w 1747534"/>
                <a:gd name="connsiteY5" fmla="*/ 0 h 962031"/>
                <a:gd name="connsiteX0" fmla="*/ 1676823 w 1693551"/>
                <a:gd name="connsiteY0" fmla="*/ 857250 h 962031"/>
                <a:gd name="connsiteX1" fmla="*/ 1556173 w 1693551"/>
                <a:gd name="connsiteY1" fmla="*/ 962025 h 962031"/>
                <a:gd name="connsiteX2" fmla="*/ 214883 w 1693551"/>
                <a:gd name="connsiteY2" fmla="*/ 862217 h 962031"/>
                <a:gd name="connsiteX3" fmla="*/ 24235 w 1693551"/>
                <a:gd name="connsiteY3" fmla="*/ 781049 h 962031"/>
                <a:gd name="connsiteX4" fmla="*/ 569541 w 1693551"/>
                <a:gd name="connsiteY4" fmla="*/ 359568 h 962031"/>
                <a:gd name="connsiteX5" fmla="*/ 610023 w 1693551"/>
                <a:gd name="connsiteY5"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8445 w 1701973"/>
                <a:gd name="connsiteY5"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16212 w 1701973"/>
                <a:gd name="connsiteY5" fmla="*/ 228806 h 962031"/>
                <a:gd name="connsiteX6" fmla="*/ 618445 w 1701973"/>
                <a:gd name="connsiteY6" fmla="*/ 0 h 962031"/>
                <a:gd name="connsiteX0" fmla="*/ 1685245 w 1701973"/>
                <a:gd name="connsiteY0" fmla="*/ 857250 h 962031"/>
                <a:gd name="connsiteX1" fmla="*/ 1564595 w 1701973"/>
                <a:gd name="connsiteY1" fmla="*/ 962025 h 962031"/>
                <a:gd name="connsiteX2" fmla="*/ 223305 w 1701973"/>
                <a:gd name="connsiteY2" fmla="*/ 862217 h 962031"/>
                <a:gd name="connsiteX3" fmla="*/ 32657 w 1701973"/>
                <a:gd name="connsiteY3" fmla="*/ 781049 h 962031"/>
                <a:gd name="connsiteX4" fmla="*/ 577963 w 1701973"/>
                <a:gd name="connsiteY4" fmla="*/ 359568 h 962031"/>
                <a:gd name="connsiteX5" fmla="*/ 620975 w 1701973"/>
                <a:gd name="connsiteY5" fmla="*/ 164512 h 962031"/>
                <a:gd name="connsiteX6" fmla="*/ 618445 w 1701973"/>
                <a:gd name="connsiteY6" fmla="*/ 0 h 962031"/>
                <a:gd name="connsiteX0" fmla="*/ 1685245 w 1685245"/>
                <a:gd name="connsiteY0" fmla="*/ 857250 h 959650"/>
                <a:gd name="connsiteX1" fmla="*/ 1457439 w 1685245"/>
                <a:gd name="connsiteY1" fmla="*/ 959644 h 959650"/>
                <a:gd name="connsiteX2" fmla="*/ 223305 w 1685245"/>
                <a:gd name="connsiteY2" fmla="*/ 862217 h 959650"/>
                <a:gd name="connsiteX3" fmla="*/ 32657 w 1685245"/>
                <a:gd name="connsiteY3" fmla="*/ 781049 h 959650"/>
                <a:gd name="connsiteX4" fmla="*/ 577963 w 1685245"/>
                <a:gd name="connsiteY4" fmla="*/ 359568 h 959650"/>
                <a:gd name="connsiteX5" fmla="*/ 620975 w 1685245"/>
                <a:gd name="connsiteY5" fmla="*/ 164512 h 959650"/>
                <a:gd name="connsiteX6" fmla="*/ 618445 w 1685245"/>
                <a:gd name="connsiteY6" fmla="*/ 0 h 959650"/>
                <a:gd name="connsiteX0" fmla="*/ 1685245 w 1685245"/>
                <a:gd name="connsiteY0" fmla="*/ 857250 h 961822"/>
                <a:gd name="connsiteX1" fmla="*/ 1616337 w 1685245"/>
                <a:gd name="connsiteY1" fmla="*/ 924131 h 961822"/>
                <a:gd name="connsiteX2" fmla="*/ 1457439 w 1685245"/>
                <a:gd name="connsiteY2" fmla="*/ 959644 h 961822"/>
                <a:gd name="connsiteX3" fmla="*/ 223305 w 1685245"/>
                <a:gd name="connsiteY3" fmla="*/ 862217 h 961822"/>
                <a:gd name="connsiteX4" fmla="*/ 32657 w 1685245"/>
                <a:gd name="connsiteY4" fmla="*/ 781049 h 961822"/>
                <a:gd name="connsiteX5" fmla="*/ 577963 w 1685245"/>
                <a:gd name="connsiteY5" fmla="*/ 359568 h 961822"/>
                <a:gd name="connsiteX6" fmla="*/ 620975 w 1685245"/>
                <a:gd name="connsiteY6" fmla="*/ 164512 h 961822"/>
                <a:gd name="connsiteX7" fmla="*/ 618445 w 1685245"/>
                <a:gd name="connsiteY7" fmla="*/ 0 h 961822"/>
                <a:gd name="connsiteX0" fmla="*/ 1685245 w 1685245"/>
                <a:gd name="connsiteY0" fmla="*/ 857250 h 953018"/>
                <a:gd name="connsiteX1" fmla="*/ 1616337 w 1685245"/>
                <a:gd name="connsiteY1" fmla="*/ 924131 h 953018"/>
                <a:gd name="connsiteX2" fmla="*/ 1414576 w 1685245"/>
                <a:gd name="connsiteY2" fmla="*/ 950119 h 953018"/>
                <a:gd name="connsiteX3" fmla="*/ 223305 w 1685245"/>
                <a:gd name="connsiteY3" fmla="*/ 862217 h 953018"/>
                <a:gd name="connsiteX4" fmla="*/ 32657 w 1685245"/>
                <a:gd name="connsiteY4" fmla="*/ 781049 h 953018"/>
                <a:gd name="connsiteX5" fmla="*/ 577963 w 1685245"/>
                <a:gd name="connsiteY5" fmla="*/ 359568 h 953018"/>
                <a:gd name="connsiteX6" fmla="*/ 620975 w 1685245"/>
                <a:gd name="connsiteY6" fmla="*/ 164512 h 953018"/>
                <a:gd name="connsiteX7" fmla="*/ 618445 w 1685245"/>
                <a:gd name="connsiteY7" fmla="*/ 0 h 953018"/>
                <a:gd name="connsiteX0" fmla="*/ 1685245 w 1685245"/>
                <a:gd name="connsiteY0" fmla="*/ 857250 h 956840"/>
                <a:gd name="connsiteX1" fmla="*/ 1616337 w 1685245"/>
                <a:gd name="connsiteY1" fmla="*/ 924131 h 956840"/>
                <a:gd name="connsiteX2" fmla="*/ 1414576 w 1685245"/>
                <a:gd name="connsiteY2" fmla="*/ 950119 h 956840"/>
                <a:gd name="connsiteX3" fmla="*/ 223305 w 1685245"/>
                <a:gd name="connsiteY3" fmla="*/ 862217 h 956840"/>
                <a:gd name="connsiteX4" fmla="*/ 32657 w 1685245"/>
                <a:gd name="connsiteY4" fmla="*/ 781049 h 956840"/>
                <a:gd name="connsiteX5" fmla="*/ 577963 w 1685245"/>
                <a:gd name="connsiteY5" fmla="*/ 359568 h 956840"/>
                <a:gd name="connsiteX6" fmla="*/ 620975 w 1685245"/>
                <a:gd name="connsiteY6" fmla="*/ 164512 h 956840"/>
                <a:gd name="connsiteX7" fmla="*/ 618445 w 1685245"/>
                <a:gd name="connsiteY7" fmla="*/ 0 h 956840"/>
                <a:gd name="connsiteX0" fmla="*/ 1685245 w 1685245"/>
                <a:gd name="connsiteY0" fmla="*/ 857250 h 958892"/>
                <a:gd name="connsiteX1" fmla="*/ 1616337 w 1685245"/>
                <a:gd name="connsiteY1" fmla="*/ 924131 h 958892"/>
                <a:gd name="connsiteX2" fmla="*/ 14193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4193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20975 w 1685245"/>
                <a:gd name="connsiteY6" fmla="*/ 164512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18594 w 1685245"/>
                <a:gd name="connsiteY6" fmla="*/ 178799 h 958892"/>
                <a:gd name="connsiteX7" fmla="*/ 618445 w 1685245"/>
                <a:gd name="connsiteY7" fmla="*/ 0 h 958892"/>
                <a:gd name="connsiteX0" fmla="*/ 1685245 w 1685245"/>
                <a:gd name="connsiteY0" fmla="*/ 857250 h 958892"/>
                <a:gd name="connsiteX1" fmla="*/ 1616337 w 1685245"/>
                <a:gd name="connsiteY1" fmla="*/ 924131 h 958892"/>
                <a:gd name="connsiteX2" fmla="*/ 1381238 w 1685245"/>
                <a:gd name="connsiteY2" fmla="*/ 952500 h 958892"/>
                <a:gd name="connsiteX3" fmla="*/ 223305 w 1685245"/>
                <a:gd name="connsiteY3" fmla="*/ 862217 h 958892"/>
                <a:gd name="connsiteX4" fmla="*/ 32657 w 1685245"/>
                <a:gd name="connsiteY4" fmla="*/ 781049 h 958892"/>
                <a:gd name="connsiteX5" fmla="*/ 577963 w 1685245"/>
                <a:gd name="connsiteY5" fmla="*/ 359568 h 958892"/>
                <a:gd name="connsiteX6" fmla="*/ 618445 w 1685245"/>
                <a:gd name="connsiteY6" fmla="*/ 0 h 958892"/>
                <a:gd name="connsiteX0" fmla="*/ 1685245 w 1685245"/>
                <a:gd name="connsiteY0" fmla="*/ 497682 h 599324"/>
                <a:gd name="connsiteX1" fmla="*/ 1616337 w 1685245"/>
                <a:gd name="connsiteY1" fmla="*/ 564563 h 599324"/>
                <a:gd name="connsiteX2" fmla="*/ 1381238 w 1685245"/>
                <a:gd name="connsiteY2" fmla="*/ 592932 h 599324"/>
                <a:gd name="connsiteX3" fmla="*/ 223305 w 1685245"/>
                <a:gd name="connsiteY3" fmla="*/ 502649 h 599324"/>
                <a:gd name="connsiteX4" fmla="*/ 32657 w 1685245"/>
                <a:gd name="connsiteY4" fmla="*/ 421481 h 599324"/>
                <a:gd name="connsiteX5" fmla="*/ 577963 w 1685245"/>
                <a:gd name="connsiteY5" fmla="*/ 0 h 599324"/>
                <a:gd name="connsiteX0" fmla="*/ 1660892 w 1660892"/>
                <a:gd name="connsiteY0" fmla="*/ 497682 h 592932"/>
                <a:gd name="connsiteX1" fmla="*/ 1591984 w 1660892"/>
                <a:gd name="connsiteY1" fmla="*/ 564563 h 592932"/>
                <a:gd name="connsiteX2" fmla="*/ 1356885 w 1660892"/>
                <a:gd name="connsiteY2" fmla="*/ 592932 h 592932"/>
                <a:gd name="connsiteX3" fmla="*/ 1020483 w 1660892"/>
                <a:gd name="connsiteY3" fmla="*/ 564561 h 592932"/>
                <a:gd name="connsiteX4" fmla="*/ 8304 w 1660892"/>
                <a:gd name="connsiteY4" fmla="*/ 421481 h 592932"/>
                <a:gd name="connsiteX5" fmla="*/ 553610 w 1660892"/>
                <a:gd name="connsiteY5" fmla="*/ 0 h 592932"/>
                <a:gd name="connsiteX0" fmla="*/ 1143582 w 1143582"/>
                <a:gd name="connsiteY0" fmla="*/ 497682 h 592932"/>
                <a:gd name="connsiteX1" fmla="*/ 1074674 w 1143582"/>
                <a:gd name="connsiteY1" fmla="*/ 564563 h 592932"/>
                <a:gd name="connsiteX2" fmla="*/ 839575 w 1143582"/>
                <a:gd name="connsiteY2" fmla="*/ 592932 h 592932"/>
                <a:gd name="connsiteX3" fmla="*/ 503173 w 1143582"/>
                <a:gd name="connsiteY3" fmla="*/ 564561 h 592932"/>
                <a:gd name="connsiteX4" fmla="*/ 245850 w 1143582"/>
                <a:gd name="connsiteY4" fmla="*/ 483394 h 592932"/>
                <a:gd name="connsiteX5" fmla="*/ 36300 w 1143582"/>
                <a:gd name="connsiteY5" fmla="*/ 0 h 592932"/>
                <a:gd name="connsiteX0" fmla="*/ 927557 w 927557"/>
                <a:gd name="connsiteY0" fmla="*/ 59532 h 154782"/>
                <a:gd name="connsiteX1" fmla="*/ 858649 w 927557"/>
                <a:gd name="connsiteY1" fmla="*/ 126413 h 154782"/>
                <a:gd name="connsiteX2" fmla="*/ 623550 w 927557"/>
                <a:gd name="connsiteY2" fmla="*/ 154782 h 154782"/>
                <a:gd name="connsiteX3" fmla="*/ 287148 w 927557"/>
                <a:gd name="connsiteY3" fmla="*/ 126411 h 154782"/>
                <a:gd name="connsiteX4" fmla="*/ 29825 w 927557"/>
                <a:gd name="connsiteY4" fmla="*/ 45244 h 154782"/>
                <a:gd name="connsiteX5" fmla="*/ 94119 w 927557"/>
                <a:gd name="connsiteY5" fmla="*/ 0 h 154782"/>
                <a:gd name="connsiteX0" fmla="*/ 927557 w 927557"/>
                <a:gd name="connsiteY0" fmla="*/ 59532 h 154782"/>
                <a:gd name="connsiteX1" fmla="*/ 858649 w 927557"/>
                <a:gd name="connsiteY1" fmla="*/ 126413 h 154782"/>
                <a:gd name="connsiteX2" fmla="*/ 623550 w 927557"/>
                <a:gd name="connsiteY2" fmla="*/ 154782 h 154782"/>
                <a:gd name="connsiteX3" fmla="*/ 287148 w 927557"/>
                <a:gd name="connsiteY3" fmla="*/ 126411 h 154782"/>
                <a:gd name="connsiteX4" fmla="*/ 29825 w 927557"/>
                <a:gd name="connsiteY4" fmla="*/ 45244 h 154782"/>
                <a:gd name="connsiteX5" fmla="*/ 94119 w 927557"/>
                <a:gd name="connsiteY5" fmla="*/ 0 h 154782"/>
                <a:gd name="connsiteX0" fmla="*/ 928869 w 928869"/>
                <a:gd name="connsiteY0" fmla="*/ 59532 h 154782"/>
                <a:gd name="connsiteX1" fmla="*/ 859961 w 928869"/>
                <a:gd name="connsiteY1" fmla="*/ 126413 h 154782"/>
                <a:gd name="connsiteX2" fmla="*/ 624862 w 928869"/>
                <a:gd name="connsiteY2" fmla="*/ 154782 h 154782"/>
                <a:gd name="connsiteX3" fmla="*/ 288460 w 928869"/>
                <a:gd name="connsiteY3" fmla="*/ 126411 h 154782"/>
                <a:gd name="connsiteX4" fmla="*/ 31137 w 928869"/>
                <a:gd name="connsiteY4" fmla="*/ 45244 h 154782"/>
                <a:gd name="connsiteX5" fmla="*/ 95431 w 928869"/>
                <a:gd name="connsiteY5" fmla="*/ 0 h 154782"/>
                <a:gd name="connsiteX0" fmla="*/ 928869 w 928869"/>
                <a:gd name="connsiteY0" fmla="*/ 59532 h 154782"/>
                <a:gd name="connsiteX1" fmla="*/ 859961 w 928869"/>
                <a:gd name="connsiteY1" fmla="*/ 126413 h 154782"/>
                <a:gd name="connsiteX2" fmla="*/ 624862 w 928869"/>
                <a:gd name="connsiteY2" fmla="*/ 154782 h 154782"/>
                <a:gd name="connsiteX3" fmla="*/ 288460 w 928869"/>
                <a:gd name="connsiteY3" fmla="*/ 126411 h 154782"/>
                <a:gd name="connsiteX4" fmla="*/ 31137 w 928869"/>
                <a:gd name="connsiteY4" fmla="*/ 45244 h 154782"/>
                <a:gd name="connsiteX5" fmla="*/ 95431 w 928869"/>
                <a:gd name="connsiteY5" fmla="*/ 0 h 154782"/>
                <a:gd name="connsiteX0" fmla="*/ 928869 w 928869"/>
                <a:gd name="connsiteY0" fmla="*/ 59532 h 162179"/>
                <a:gd name="connsiteX1" fmla="*/ 859961 w 928869"/>
                <a:gd name="connsiteY1" fmla="*/ 126413 h 162179"/>
                <a:gd name="connsiteX2" fmla="*/ 624862 w 928869"/>
                <a:gd name="connsiteY2" fmla="*/ 154782 h 162179"/>
                <a:gd name="connsiteX3" fmla="*/ 288460 w 928869"/>
                <a:gd name="connsiteY3" fmla="*/ 126411 h 162179"/>
                <a:gd name="connsiteX4" fmla="*/ 31137 w 928869"/>
                <a:gd name="connsiteY4" fmla="*/ 45244 h 162179"/>
                <a:gd name="connsiteX5" fmla="*/ 95431 w 928869"/>
                <a:gd name="connsiteY5" fmla="*/ 0 h 162179"/>
                <a:gd name="connsiteX0" fmla="*/ 928869 w 928869"/>
                <a:gd name="connsiteY0" fmla="*/ 59532 h 164840"/>
                <a:gd name="connsiteX1" fmla="*/ 859961 w 928869"/>
                <a:gd name="connsiteY1" fmla="*/ 126413 h 164840"/>
                <a:gd name="connsiteX2" fmla="*/ 624862 w 928869"/>
                <a:gd name="connsiteY2" fmla="*/ 154782 h 164840"/>
                <a:gd name="connsiteX3" fmla="*/ 288460 w 928869"/>
                <a:gd name="connsiteY3" fmla="*/ 126411 h 164840"/>
                <a:gd name="connsiteX4" fmla="*/ 31137 w 928869"/>
                <a:gd name="connsiteY4" fmla="*/ 45244 h 164840"/>
                <a:gd name="connsiteX5" fmla="*/ 95431 w 928869"/>
                <a:gd name="connsiteY5" fmla="*/ 0 h 164840"/>
                <a:gd name="connsiteX0" fmla="*/ 928869 w 928869"/>
                <a:gd name="connsiteY0" fmla="*/ 59532 h 166155"/>
                <a:gd name="connsiteX1" fmla="*/ 859961 w 928869"/>
                <a:gd name="connsiteY1" fmla="*/ 126413 h 166155"/>
                <a:gd name="connsiteX2" fmla="*/ 691537 w 928869"/>
                <a:gd name="connsiteY2" fmla="*/ 157164 h 166155"/>
                <a:gd name="connsiteX3" fmla="*/ 288460 w 928869"/>
                <a:gd name="connsiteY3" fmla="*/ 126411 h 166155"/>
                <a:gd name="connsiteX4" fmla="*/ 31137 w 928869"/>
                <a:gd name="connsiteY4" fmla="*/ 45244 h 166155"/>
                <a:gd name="connsiteX5" fmla="*/ 95431 w 928869"/>
                <a:gd name="connsiteY5" fmla="*/ 0 h 166155"/>
                <a:gd name="connsiteX0" fmla="*/ 928869 w 928869"/>
                <a:gd name="connsiteY0" fmla="*/ 59532 h 162522"/>
                <a:gd name="connsiteX1" fmla="*/ 859961 w 928869"/>
                <a:gd name="connsiteY1" fmla="*/ 126413 h 162522"/>
                <a:gd name="connsiteX2" fmla="*/ 691537 w 928869"/>
                <a:gd name="connsiteY2" fmla="*/ 157164 h 162522"/>
                <a:gd name="connsiteX3" fmla="*/ 288460 w 928869"/>
                <a:gd name="connsiteY3" fmla="*/ 126411 h 162522"/>
                <a:gd name="connsiteX4" fmla="*/ 31137 w 928869"/>
                <a:gd name="connsiteY4" fmla="*/ 45244 h 162522"/>
                <a:gd name="connsiteX5" fmla="*/ 95431 w 928869"/>
                <a:gd name="connsiteY5" fmla="*/ 0 h 162522"/>
                <a:gd name="connsiteX0" fmla="*/ 919368 w 919368"/>
                <a:gd name="connsiteY0" fmla="*/ 59532 h 159830"/>
                <a:gd name="connsiteX1" fmla="*/ 850460 w 919368"/>
                <a:gd name="connsiteY1" fmla="*/ 126413 h 159830"/>
                <a:gd name="connsiteX2" fmla="*/ 682036 w 919368"/>
                <a:gd name="connsiteY2" fmla="*/ 157164 h 159830"/>
                <a:gd name="connsiteX3" fmla="*/ 155134 w 919368"/>
                <a:gd name="connsiteY3" fmla="*/ 121648 h 159830"/>
                <a:gd name="connsiteX4" fmla="*/ 21636 w 919368"/>
                <a:gd name="connsiteY4" fmla="*/ 45244 h 159830"/>
                <a:gd name="connsiteX5" fmla="*/ 85930 w 919368"/>
                <a:gd name="connsiteY5" fmla="*/ 0 h 159830"/>
                <a:gd name="connsiteX0" fmla="*/ 918286 w 918286"/>
                <a:gd name="connsiteY0" fmla="*/ 59532 h 159830"/>
                <a:gd name="connsiteX1" fmla="*/ 849378 w 918286"/>
                <a:gd name="connsiteY1" fmla="*/ 126413 h 159830"/>
                <a:gd name="connsiteX2" fmla="*/ 680954 w 918286"/>
                <a:gd name="connsiteY2" fmla="*/ 157164 h 159830"/>
                <a:gd name="connsiteX3" fmla="*/ 154052 w 918286"/>
                <a:gd name="connsiteY3" fmla="*/ 121648 h 159830"/>
                <a:gd name="connsiteX4" fmla="*/ 20554 w 918286"/>
                <a:gd name="connsiteY4" fmla="*/ 45244 h 159830"/>
                <a:gd name="connsiteX5" fmla="*/ 84848 w 918286"/>
                <a:gd name="connsiteY5" fmla="*/ 0 h 159830"/>
                <a:gd name="connsiteX0" fmla="*/ 915231 w 915231"/>
                <a:gd name="connsiteY0" fmla="*/ 59532 h 159830"/>
                <a:gd name="connsiteX1" fmla="*/ 846323 w 915231"/>
                <a:gd name="connsiteY1" fmla="*/ 126413 h 159830"/>
                <a:gd name="connsiteX2" fmla="*/ 677899 w 915231"/>
                <a:gd name="connsiteY2" fmla="*/ 157164 h 159830"/>
                <a:gd name="connsiteX3" fmla="*/ 150997 w 915231"/>
                <a:gd name="connsiteY3" fmla="*/ 121648 h 159830"/>
                <a:gd name="connsiteX4" fmla="*/ 22261 w 915231"/>
                <a:gd name="connsiteY4" fmla="*/ 59531 h 159830"/>
                <a:gd name="connsiteX5" fmla="*/ 81793 w 915231"/>
                <a:gd name="connsiteY5" fmla="*/ 0 h 159830"/>
                <a:gd name="connsiteX0" fmla="*/ 916746 w 916746"/>
                <a:gd name="connsiteY0" fmla="*/ 59532 h 159830"/>
                <a:gd name="connsiteX1" fmla="*/ 847838 w 916746"/>
                <a:gd name="connsiteY1" fmla="*/ 126413 h 159830"/>
                <a:gd name="connsiteX2" fmla="*/ 679414 w 916746"/>
                <a:gd name="connsiteY2" fmla="*/ 157164 h 159830"/>
                <a:gd name="connsiteX3" fmla="*/ 152512 w 916746"/>
                <a:gd name="connsiteY3" fmla="*/ 121648 h 159830"/>
                <a:gd name="connsiteX4" fmla="*/ 21395 w 916746"/>
                <a:gd name="connsiteY4" fmla="*/ 76199 h 159830"/>
                <a:gd name="connsiteX5" fmla="*/ 83308 w 916746"/>
                <a:gd name="connsiteY5" fmla="*/ 0 h 159830"/>
                <a:gd name="connsiteX0" fmla="*/ 917675 w 917675"/>
                <a:gd name="connsiteY0" fmla="*/ 59532 h 159830"/>
                <a:gd name="connsiteX1" fmla="*/ 848767 w 917675"/>
                <a:gd name="connsiteY1" fmla="*/ 126413 h 159830"/>
                <a:gd name="connsiteX2" fmla="*/ 680343 w 917675"/>
                <a:gd name="connsiteY2" fmla="*/ 157164 h 159830"/>
                <a:gd name="connsiteX3" fmla="*/ 153441 w 917675"/>
                <a:gd name="connsiteY3" fmla="*/ 121648 h 159830"/>
                <a:gd name="connsiteX4" fmla="*/ 22324 w 917675"/>
                <a:gd name="connsiteY4" fmla="*/ 76199 h 159830"/>
                <a:gd name="connsiteX5" fmla="*/ 84237 w 917675"/>
                <a:gd name="connsiteY5" fmla="*/ 0 h 159830"/>
                <a:gd name="connsiteX0" fmla="*/ 917675 w 917675"/>
                <a:gd name="connsiteY0" fmla="*/ 59609 h 159907"/>
                <a:gd name="connsiteX1" fmla="*/ 848767 w 917675"/>
                <a:gd name="connsiteY1" fmla="*/ 126490 h 159907"/>
                <a:gd name="connsiteX2" fmla="*/ 680343 w 917675"/>
                <a:gd name="connsiteY2" fmla="*/ 157241 h 159907"/>
                <a:gd name="connsiteX3" fmla="*/ 153441 w 917675"/>
                <a:gd name="connsiteY3" fmla="*/ 121725 h 159907"/>
                <a:gd name="connsiteX4" fmla="*/ 22324 w 917675"/>
                <a:gd name="connsiteY4" fmla="*/ 76276 h 159907"/>
                <a:gd name="connsiteX5" fmla="*/ 84237 w 917675"/>
                <a:gd name="connsiteY5" fmla="*/ 77 h 159907"/>
                <a:gd name="connsiteX0" fmla="*/ 902981 w 902981"/>
                <a:gd name="connsiteY0" fmla="*/ 28664 h 128962"/>
                <a:gd name="connsiteX1" fmla="*/ 834073 w 902981"/>
                <a:gd name="connsiteY1" fmla="*/ 95545 h 128962"/>
                <a:gd name="connsiteX2" fmla="*/ 665649 w 902981"/>
                <a:gd name="connsiteY2" fmla="*/ 126296 h 128962"/>
                <a:gd name="connsiteX3" fmla="*/ 138747 w 902981"/>
                <a:gd name="connsiteY3" fmla="*/ 90780 h 128962"/>
                <a:gd name="connsiteX4" fmla="*/ 7630 w 902981"/>
                <a:gd name="connsiteY4" fmla="*/ 45331 h 128962"/>
                <a:gd name="connsiteX5" fmla="*/ 57637 w 902981"/>
                <a:gd name="connsiteY5" fmla="*/ 88 h 128962"/>
                <a:gd name="connsiteX0" fmla="*/ 903972 w 903972"/>
                <a:gd name="connsiteY0" fmla="*/ 57202 h 157500"/>
                <a:gd name="connsiteX1" fmla="*/ 835064 w 903972"/>
                <a:gd name="connsiteY1" fmla="*/ 124083 h 157500"/>
                <a:gd name="connsiteX2" fmla="*/ 666640 w 903972"/>
                <a:gd name="connsiteY2" fmla="*/ 154834 h 157500"/>
                <a:gd name="connsiteX3" fmla="*/ 139738 w 903972"/>
                <a:gd name="connsiteY3" fmla="*/ 119318 h 157500"/>
                <a:gd name="connsiteX4" fmla="*/ 8621 w 903972"/>
                <a:gd name="connsiteY4" fmla="*/ 73869 h 157500"/>
                <a:gd name="connsiteX5" fmla="*/ 72915 w 903972"/>
                <a:gd name="connsiteY5" fmla="*/ 51 h 157500"/>
                <a:gd name="connsiteX0" fmla="*/ 914093 w 914093"/>
                <a:gd name="connsiteY0" fmla="*/ 57204 h 157502"/>
                <a:gd name="connsiteX1" fmla="*/ 845185 w 914093"/>
                <a:gd name="connsiteY1" fmla="*/ 124085 h 157502"/>
                <a:gd name="connsiteX2" fmla="*/ 676761 w 914093"/>
                <a:gd name="connsiteY2" fmla="*/ 154836 h 157502"/>
                <a:gd name="connsiteX3" fmla="*/ 149859 w 914093"/>
                <a:gd name="connsiteY3" fmla="*/ 119320 h 157502"/>
                <a:gd name="connsiteX4" fmla="*/ 18742 w 914093"/>
                <a:gd name="connsiteY4" fmla="*/ 73871 h 157502"/>
                <a:gd name="connsiteX5" fmla="*/ 83036 w 914093"/>
                <a:gd name="connsiteY5" fmla="*/ 53 h 157502"/>
                <a:gd name="connsiteX0" fmla="*/ 923611 w 923611"/>
                <a:gd name="connsiteY0" fmla="*/ 57204 h 157502"/>
                <a:gd name="connsiteX1" fmla="*/ 854703 w 923611"/>
                <a:gd name="connsiteY1" fmla="*/ 124085 h 157502"/>
                <a:gd name="connsiteX2" fmla="*/ 686279 w 923611"/>
                <a:gd name="connsiteY2" fmla="*/ 154836 h 157502"/>
                <a:gd name="connsiteX3" fmla="*/ 159377 w 923611"/>
                <a:gd name="connsiteY3" fmla="*/ 119320 h 157502"/>
                <a:gd name="connsiteX4" fmla="*/ 13972 w 923611"/>
                <a:gd name="connsiteY4" fmla="*/ 73871 h 157502"/>
                <a:gd name="connsiteX5" fmla="*/ 92554 w 923611"/>
                <a:gd name="connsiteY5" fmla="*/ 53 h 157502"/>
                <a:gd name="connsiteX0" fmla="*/ 910855 w 910855"/>
                <a:gd name="connsiteY0" fmla="*/ 57203 h 157674"/>
                <a:gd name="connsiteX1" fmla="*/ 841947 w 910855"/>
                <a:gd name="connsiteY1" fmla="*/ 124084 h 157674"/>
                <a:gd name="connsiteX2" fmla="*/ 673523 w 910855"/>
                <a:gd name="connsiteY2" fmla="*/ 154835 h 157674"/>
                <a:gd name="connsiteX3" fmla="*/ 153764 w 910855"/>
                <a:gd name="connsiteY3" fmla="*/ 116938 h 157674"/>
                <a:gd name="connsiteX4" fmla="*/ 1216 w 910855"/>
                <a:gd name="connsiteY4" fmla="*/ 73870 h 157674"/>
                <a:gd name="connsiteX5" fmla="*/ 79798 w 910855"/>
                <a:gd name="connsiteY5" fmla="*/ 52 h 157674"/>
                <a:gd name="connsiteX0" fmla="*/ 919840 w 919840"/>
                <a:gd name="connsiteY0" fmla="*/ 57204 h 157675"/>
                <a:gd name="connsiteX1" fmla="*/ 850932 w 919840"/>
                <a:gd name="connsiteY1" fmla="*/ 124085 h 157675"/>
                <a:gd name="connsiteX2" fmla="*/ 682508 w 919840"/>
                <a:gd name="connsiteY2" fmla="*/ 154836 h 157675"/>
                <a:gd name="connsiteX3" fmla="*/ 162749 w 919840"/>
                <a:gd name="connsiteY3" fmla="*/ 116939 h 157675"/>
                <a:gd name="connsiteX4" fmla="*/ 10201 w 919840"/>
                <a:gd name="connsiteY4" fmla="*/ 73871 h 157675"/>
                <a:gd name="connsiteX5" fmla="*/ 88783 w 919840"/>
                <a:gd name="connsiteY5" fmla="*/ 53 h 157675"/>
                <a:gd name="connsiteX0" fmla="*/ 922773 w 922773"/>
                <a:gd name="connsiteY0" fmla="*/ 57218 h 157689"/>
                <a:gd name="connsiteX1" fmla="*/ 853865 w 922773"/>
                <a:gd name="connsiteY1" fmla="*/ 124099 h 157689"/>
                <a:gd name="connsiteX2" fmla="*/ 685441 w 922773"/>
                <a:gd name="connsiteY2" fmla="*/ 154850 h 157689"/>
                <a:gd name="connsiteX3" fmla="*/ 165682 w 922773"/>
                <a:gd name="connsiteY3" fmla="*/ 116953 h 157689"/>
                <a:gd name="connsiteX4" fmla="*/ 13134 w 922773"/>
                <a:gd name="connsiteY4" fmla="*/ 73885 h 157689"/>
                <a:gd name="connsiteX5" fmla="*/ 91716 w 922773"/>
                <a:gd name="connsiteY5" fmla="*/ 67 h 157689"/>
                <a:gd name="connsiteX0" fmla="*/ 911192 w 911192"/>
                <a:gd name="connsiteY0" fmla="*/ 57237 h 157708"/>
                <a:gd name="connsiteX1" fmla="*/ 842284 w 911192"/>
                <a:gd name="connsiteY1" fmla="*/ 124118 h 157708"/>
                <a:gd name="connsiteX2" fmla="*/ 673860 w 911192"/>
                <a:gd name="connsiteY2" fmla="*/ 154869 h 157708"/>
                <a:gd name="connsiteX3" fmla="*/ 154101 w 911192"/>
                <a:gd name="connsiteY3" fmla="*/ 116972 h 157708"/>
                <a:gd name="connsiteX4" fmla="*/ 18222 w 911192"/>
                <a:gd name="connsiteY4" fmla="*/ 64379 h 157708"/>
                <a:gd name="connsiteX5" fmla="*/ 80135 w 911192"/>
                <a:gd name="connsiteY5" fmla="*/ 86 h 157708"/>
                <a:gd name="connsiteX0" fmla="*/ 915339 w 915339"/>
                <a:gd name="connsiteY0" fmla="*/ 57239 h 157710"/>
                <a:gd name="connsiteX1" fmla="*/ 846431 w 915339"/>
                <a:gd name="connsiteY1" fmla="*/ 124120 h 157710"/>
                <a:gd name="connsiteX2" fmla="*/ 678007 w 915339"/>
                <a:gd name="connsiteY2" fmla="*/ 154871 h 157710"/>
                <a:gd name="connsiteX3" fmla="*/ 158248 w 915339"/>
                <a:gd name="connsiteY3" fmla="*/ 116974 h 157710"/>
                <a:gd name="connsiteX4" fmla="*/ 22369 w 915339"/>
                <a:gd name="connsiteY4" fmla="*/ 64381 h 157710"/>
                <a:gd name="connsiteX5" fmla="*/ 84282 w 915339"/>
                <a:gd name="connsiteY5" fmla="*/ 88 h 157710"/>
                <a:gd name="connsiteX0" fmla="*/ 901952 w 901952"/>
                <a:gd name="connsiteY0" fmla="*/ 57384 h 157855"/>
                <a:gd name="connsiteX1" fmla="*/ 833044 w 901952"/>
                <a:gd name="connsiteY1" fmla="*/ 124265 h 157855"/>
                <a:gd name="connsiteX2" fmla="*/ 664620 w 901952"/>
                <a:gd name="connsiteY2" fmla="*/ 155016 h 157855"/>
                <a:gd name="connsiteX3" fmla="*/ 144861 w 901952"/>
                <a:gd name="connsiteY3" fmla="*/ 117119 h 157855"/>
                <a:gd name="connsiteX4" fmla="*/ 30413 w 901952"/>
                <a:gd name="connsiteY4" fmla="*/ 43095 h 157855"/>
                <a:gd name="connsiteX5" fmla="*/ 70895 w 901952"/>
                <a:gd name="connsiteY5" fmla="*/ 233 h 157855"/>
                <a:gd name="connsiteX0" fmla="*/ 904773 w 904773"/>
                <a:gd name="connsiteY0" fmla="*/ 57350 h 157821"/>
                <a:gd name="connsiteX1" fmla="*/ 835865 w 904773"/>
                <a:gd name="connsiteY1" fmla="*/ 124231 h 157821"/>
                <a:gd name="connsiteX2" fmla="*/ 667441 w 904773"/>
                <a:gd name="connsiteY2" fmla="*/ 154982 h 157821"/>
                <a:gd name="connsiteX3" fmla="*/ 147682 w 904773"/>
                <a:gd name="connsiteY3" fmla="*/ 117085 h 157821"/>
                <a:gd name="connsiteX4" fmla="*/ 28471 w 904773"/>
                <a:gd name="connsiteY4" fmla="*/ 45442 h 157821"/>
                <a:gd name="connsiteX5" fmla="*/ 73716 w 904773"/>
                <a:gd name="connsiteY5" fmla="*/ 199 h 157821"/>
                <a:gd name="connsiteX0" fmla="*/ 904773 w 904773"/>
                <a:gd name="connsiteY0" fmla="*/ 57350 h 159991"/>
                <a:gd name="connsiteX1" fmla="*/ 850153 w 904773"/>
                <a:gd name="connsiteY1" fmla="*/ 128994 h 159991"/>
                <a:gd name="connsiteX2" fmla="*/ 667441 w 904773"/>
                <a:gd name="connsiteY2" fmla="*/ 154982 h 159991"/>
                <a:gd name="connsiteX3" fmla="*/ 147682 w 904773"/>
                <a:gd name="connsiteY3" fmla="*/ 117085 h 159991"/>
                <a:gd name="connsiteX4" fmla="*/ 28471 w 904773"/>
                <a:gd name="connsiteY4" fmla="*/ 45442 h 159991"/>
                <a:gd name="connsiteX5" fmla="*/ 73716 w 904773"/>
                <a:gd name="connsiteY5" fmla="*/ 199 h 159991"/>
                <a:gd name="connsiteX0" fmla="*/ 891251 w 891251"/>
                <a:gd name="connsiteY0" fmla="*/ 57252 h 159893"/>
                <a:gd name="connsiteX1" fmla="*/ 836631 w 891251"/>
                <a:gd name="connsiteY1" fmla="*/ 128896 h 159893"/>
                <a:gd name="connsiteX2" fmla="*/ 653919 w 891251"/>
                <a:gd name="connsiteY2" fmla="*/ 154884 h 159893"/>
                <a:gd name="connsiteX3" fmla="*/ 130985 w 891251"/>
                <a:gd name="connsiteY3" fmla="*/ 116987 h 159893"/>
                <a:gd name="connsiteX4" fmla="*/ 14949 w 891251"/>
                <a:gd name="connsiteY4" fmla="*/ 45344 h 159893"/>
                <a:gd name="connsiteX5" fmla="*/ 60194 w 891251"/>
                <a:gd name="connsiteY5" fmla="*/ 101 h 159893"/>
                <a:gd name="connsiteX0" fmla="*/ 878053 w 878053"/>
                <a:gd name="connsiteY0" fmla="*/ 57252 h 159893"/>
                <a:gd name="connsiteX1" fmla="*/ 823433 w 878053"/>
                <a:gd name="connsiteY1" fmla="*/ 128896 h 159893"/>
                <a:gd name="connsiteX2" fmla="*/ 640721 w 878053"/>
                <a:gd name="connsiteY2" fmla="*/ 154884 h 159893"/>
                <a:gd name="connsiteX3" fmla="*/ 117787 w 878053"/>
                <a:gd name="connsiteY3" fmla="*/ 116987 h 159893"/>
                <a:gd name="connsiteX4" fmla="*/ 1751 w 878053"/>
                <a:gd name="connsiteY4" fmla="*/ 45344 h 159893"/>
                <a:gd name="connsiteX5" fmla="*/ 46996 w 878053"/>
                <a:gd name="connsiteY5" fmla="*/ 101 h 159893"/>
                <a:gd name="connsiteX0" fmla="*/ 881139 w 881139"/>
                <a:gd name="connsiteY0" fmla="*/ 57228 h 159869"/>
                <a:gd name="connsiteX1" fmla="*/ 826519 w 881139"/>
                <a:gd name="connsiteY1" fmla="*/ 128872 h 159869"/>
                <a:gd name="connsiteX2" fmla="*/ 643807 w 881139"/>
                <a:gd name="connsiteY2" fmla="*/ 154860 h 159869"/>
                <a:gd name="connsiteX3" fmla="*/ 120873 w 881139"/>
                <a:gd name="connsiteY3" fmla="*/ 116963 h 159869"/>
                <a:gd name="connsiteX4" fmla="*/ 1662 w 881139"/>
                <a:gd name="connsiteY4" fmla="*/ 54845 h 159869"/>
                <a:gd name="connsiteX5" fmla="*/ 50082 w 881139"/>
                <a:gd name="connsiteY5" fmla="*/ 77 h 159869"/>
                <a:gd name="connsiteX0" fmla="*/ 888020 w 888020"/>
                <a:gd name="connsiteY0" fmla="*/ 57241 h 159882"/>
                <a:gd name="connsiteX1" fmla="*/ 833400 w 888020"/>
                <a:gd name="connsiteY1" fmla="*/ 128885 h 159882"/>
                <a:gd name="connsiteX2" fmla="*/ 650688 w 888020"/>
                <a:gd name="connsiteY2" fmla="*/ 154873 h 159882"/>
                <a:gd name="connsiteX3" fmla="*/ 127754 w 888020"/>
                <a:gd name="connsiteY3" fmla="*/ 116976 h 159882"/>
                <a:gd name="connsiteX4" fmla="*/ 8543 w 888020"/>
                <a:gd name="connsiteY4" fmla="*/ 54858 h 159882"/>
                <a:gd name="connsiteX5" fmla="*/ 56963 w 888020"/>
                <a:gd name="connsiteY5" fmla="*/ 90 h 159882"/>
                <a:gd name="connsiteX0" fmla="*/ 898388 w 898388"/>
                <a:gd name="connsiteY0" fmla="*/ 57217 h 159858"/>
                <a:gd name="connsiteX1" fmla="*/ 843768 w 898388"/>
                <a:gd name="connsiteY1" fmla="*/ 128861 h 159858"/>
                <a:gd name="connsiteX2" fmla="*/ 661056 w 898388"/>
                <a:gd name="connsiteY2" fmla="*/ 154849 h 159858"/>
                <a:gd name="connsiteX3" fmla="*/ 138122 w 898388"/>
                <a:gd name="connsiteY3" fmla="*/ 116952 h 159858"/>
                <a:gd name="connsiteX4" fmla="*/ 6211 w 898388"/>
                <a:gd name="connsiteY4" fmla="*/ 67534 h 159858"/>
                <a:gd name="connsiteX5" fmla="*/ 67331 w 898388"/>
                <a:gd name="connsiteY5" fmla="*/ 66 h 159858"/>
                <a:gd name="connsiteX0" fmla="*/ 898388 w 898388"/>
                <a:gd name="connsiteY0" fmla="*/ 57217 h 436457"/>
                <a:gd name="connsiteX1" fmla="*/ 431811 w 898388"/>
                <a:gd name="connsiteY1" fmla="*/ 431280 h 436457"/>
                <a:gd name="connsiteX2" fmla="*/ 661056 w 898388"/>
                <a:gd name="connsiteY2" fmla="*/ 154849 h 436457"/>
                <a:gd name="connsiteX3" fmla="*/ 138122 w 898388"/>
                <a:gd name="connsiteY3" fmla="*/ 116952 h 436457"/>
                <a:gd name="connsiteX4" fmla="*/ 6211 w 898388"/>
                <a:gd name="connsiteY4" fmla="*/ 67534 h 436457"/>
                <a:gd name="connsiteX5" fmla="*/ 67331 w 898388"/>
                <a:gd name="connsiteY5" fmla="*/ 66 h 436457"/>
                <a:gd name="connsiteX0" fmla="*/ 324507 w 665895"/>
                <a:gd name="connsiteY0" fmla="*/ 583474 h 583915"/>
                <a:gd name="connsiteX1" fmla="*/ 431811 w 665895"/>
                <a:gd name="connsiteY1" fmla="*/ 431280 h 583915"/>
                <a:gd name="connsiteX2" fmla="*/ 661056 w 665895"/>
                <a:gd name="connsiteY2" fmla="*/ 154849 h 583915"/>
                <a:gd name="connsiteX3" fmla="*/ 138122 w 665895"/>
                <a:gd name="connsiteY3" fmla="*/ 116952 h 583915"/>
                <a:gd name="connsiteX4" fmla="*/ 6211 w 665895"/>
                <a:gd name="connsiteY4" fmla="*/ 67534 h 583915"/>
                <a:gd name="connsiteX5" fmla="*/ 67331 w 665895"/>
                <a:gd name="connsiteY5" fmla="*/ 66 h 583915"/>
                <a:gd name="connsiteX0" fmla="*/ 324507 w 663321"/>
                <a:gd name="connsiteY0" fmla="*/ 583474 h 583474"/>
                <a:gd name="connsiteX1" fmla="*/ 661056 w 663321"/>
                <a:gd name="connsiteY1" fmla="*/ 154849 h 583474"/>
                <a:gd name="connsiteX2" fmla="*/ 138122 w 663321"/>
                <a:gd name="connsiteY2" fmla="*/ 116952 h 583474"/>
                <a:gd name="connsiteX3" fmla="*/ 6211 w 663321"/>
                <a:gd name="connsiteY3" fmla="*/ 67534 h 583474"/>
                <a:gd name="connsiteX4" fmla="*/ 67331 w 663321"/>
                <a:gd name="connsiteY4" fmla="*/ 66 h 583474"/>
                <a:gd name="connsiteX0" fmla="*/ 324507 w 386487"/>
                <a:gd name="connsiteY0" fmla="*/ 583474 h 583474"/>
                <a:gd name="connsiteX1" fmla="*/ 368162 w 386487"/>
                <a:gd name="connsiteY1" fmla="*/ 169136 h 583474"/>
                <a:gd name="connsiteX2" fmla="*/ 138122 w 386487"/>
                <a:gd name="connsiteY2" fmla="*/ 116952 h 583474"/>
                <a:gd name="connsiteX3" fmla="*/ 6211 w 386487"/>
                <a:gd name="connsiteY3" fmla="*/ 67534 h 583474"/>
                <a:gd name="connsiteX4" fmla="*/ 67331 w 386487"/>
                <a:gd name="connsiteY4" fmla="*/ 66 h 583474"/>
                <a:gd name="connsiteX0" fmla="*/ 324507 w 376130"/>
                <a:gd name="connsiteY0" fmla="*/ 583474 h 583474"/>
                <a:gd name="connsiteX1" fmla="*/ 368162 w 376130"/>
                <a:gd name="connsiteY1" fmla="*/ 169136 h 583474"/>
                <a:gd name="connsiteX2" fmla="*/ 138122 w 376130"/>
                <a:gd name="connsiteY2" fmla="*/ 116952 h 583474"/>
                <a:gd name="connsiteX3" fmla="*/ 6211 w 376130"/>
                <a:gd name="connsiteY3" fmla="*/ 67534 h 583474"/>
                <a:gd name="connsiteX4" fmla="*/ 67331 w 376130"/>
                <a:gd name="connsiteY4" fmla="*/ 66 h 583474"/>
                <a:gd name="connsiteX0" fmla="*/ 324507 w 376130"/>
                <a:gd name="connsiteY0" fmla="*/ 583474 h 583474"/>
                <a:gd name="connsiteX1" fmla="*/ 368162 w 376130"/>
                <a:gd name="connsiteY1" fmla="*/ 185804 h 583474"/>
                <a:gd name="connsiteX2" fmla="*/ 138122 w 376130"/>
                <a:gd name="connsiteY2" fmla="*/ 116952 h 583474"/>
                <a:gd name="connsiteX3" fmla="*/ 6211 w 376130"/>
                <a:gd name="connsiteY3" fmla="*/ 67534 h 583474"/>
                <a:gd name="connsiteX4" fmla="*/ 67331 w 376130"/>
                <a:gd name="connsiteY4" fmla="*/ 66 h 583474"/>
                <a:gd name="connsiteX0" fmla="*/ 324507 w 355635"/>
                <a:gd name="connsiteY0" fmla="*/ 583474 h 583474"/>
                <a:gd name="connsiteX1" fmla="*/ 318156 w 355635"/>
                <a:gd name="connsiteY1" fmla="*/ 183423 h 583474"/>
                <a:gd name="connsiteX2" fmla="*/ 138122 w 355635"/>
                <a:gd name="connsiteY2" fmla="*/ 116952 h 583474"/>
                <a:gd name="connsiteX3" fmla="*/ 6211 w 355635"/>
                <a:gd name="connsiteY3" fmla="*/ 67534 h 583474"/>
                <a:gd name="connsiteX4" fmla="*/ 67331 w 355635"/>
                <a:gd name="connsiteY4" fmla="*/ 66 h 583474"/>
                <a:gd name="connsiteX0" fmla="*/ 324507 w 324507"/>
                <a:gd name="connsiteY0" fmla="*/ 583474 h 583474"/>
                <a:gd name="connsiteX1" fmla="*/ 318156 w 324507"/>
                <a:gd name="connsiteY1" fmla="*/ 183423 h 583474"/>
                <a:gd name="connsiteX2" fmla="*/ 138122 w 324507"/>
                <a:gd name="connsiteY2" fmla="*/ 116952 h 583474"/>
                <a:gd name="connsiteX3" fmla="*/ 6211 w 324507"/>
                <a:gd name="connsiteY3" fmla="*/ 67534 h 583474"/>
                <a:gd name="connsiteX4" fmla="*/ 67331 w 324507"/>
                <a:gd name="connsiteY4" fmla="*/ 66 h 583474"/>
                <a:gd name="connsiteX0" fmla="*/ 324507 w 336486"/>
                <a:gd name="connsiteY0" fmla="*/ 583474 h 583474"/>
                <a:gd name="connsiteX1" fmla="*/ 334824 w 336486"/>
                <a:gd name="connsiteY1" fmla="*/ 181042 h 583474"/>
                <a:gd name="connsiteX2" fmla="*/ 138122 w 336486"/>
                <a:gd name="connsiteY2" fmla="*/ 116952 h 583474"/>
                <a:gd name="connsiteX3" fmla="*/ 6211 w 336486"/>
                <a:gd name="connsiteY3" fmla="*/ 67534 h 583474"/>
                <a:gd name="connsiteX4" fmla="*/ 67331 w 336486"/>
                <a:gd name="connsiteY4" fmla="*/ 66 h 583474"/>
                <a:gd name="connsiteX0" fmla="*/ 324507 w 347837"/>
                <a:gd name="connsiteY0" fmla="*/ 583474 h 583474"/>
                <a:gd name="connsiteX1" fmla="*/ 346731 w 347837"/>
                <a:gd name="connsiteY1" fmla="*/ 178661 h 583474"/>
                <a:gd name="connsiteX2" fmla="*/ 138122 w 347837"/>
                <a:gd name="connsiteY2" fmla="*/ 116952 h 583474"/>
                <a:gd name="connsiteX3" fmla="*/ 6211 w 347837"/>
                <a:gd name="connsiteY3" fmla="*/ 67534 h 583474"/>
                <a:gd name="connsiteX4" fmla="*/ 67331 w 347837"/>
                <a:gd name="connsiteY4" fmla="*/ 66 h 583474"/>
                <a:gd name="connsiteX0" fmla="*/ 324507 w 332144"/>
                <a:gd name="connsiteY0" fmla="*/ 583474 h 583474"/>
                <a:gd name="connsiteX1" fmla="*/ 330063 w 332144"/>
                <a:gd name="connsiteY1" fmla="*/ 178661 h 583474"/>
                <a:gd name="connsiteX2" fmla="*/ 138122 w 332144"/>
                <a:gd name="connsiteY2" fmla="*/ 116952 h 583474"/>
                <a:gd name="connsiteX3" fmla="*/ 6211 w 332144"/>
                <a:gd name="connsiteY3" fmla="*/ 67534 h 583474"/>
                <a:gd name="connsiteX4" fmla="*/ 67331 w 332144"/>
                <a:gd name="connsiteY4" fmla="*/ 66 h 583474"/>
                <a:gd name="connsiteX0" fmla="*/ 319744 w 341068"/>
                <a:gd name="connsiteY0" fmla="*/ 816837 h 816837"/>
                <a:gd name="connsiteX1" fmla="*/ 330063 w 341068"/>
                <a:gd name="connsiteY1" fmla="*/ 178661 h 816837"/>
                <a:gd name="connsiteX2" fmla="*/ 138122 w 341068"/>
                <a:gd name="connsiteY2" fmla="*/ 116952 h 816837"/>
                <a:gd name="connsiteX3" fmla="*/ 6211 w 341068"/>
                <a:gd name="connsiteY3" fmla="*/ 67534 h 816837"/>
                <a:gd name="connsiteX4" fmla="*/ 67331 w 341068"/>
                <a:gd name="connsiteY4" fmla="*/ 66 h 816837"/>
                <a:gd name="connsiteX0" fmla="*/ 319744 w 341068"/>
                <a:gd name="connsiteY0" fmla="*/ 816837 h 816837"/>
                <a:gd name="connsiteX1" fmla="*/ 330063 w 341068"/>
                <a:gd name="connsiteY1" fmla="*/ 226286 h 816837"/>
                <a:gd name="connsiteX2" fmla="*/ 138122 w 341068"/>
                <a:gd name="connsiteY2" fmla="*/ 116952 h 816837"/>
                <a:gd name="connsiteX3" fmla="*/ 6211 w 341068"/>
                <a:gd name="connsiteY3" fmla="*/ 67534 h 816837"/>
                <a:gd name="connsiteX4" fmla="*/ 67331 w 341068"/>
                <a:gd name="connsiteY4" fmla="*/ 66 h 816837"/>
                <a:gd name="connsiteX0" fmla="*/ 319744 w 331334"/>
                <a:gd name="connsiteY0" fmla="*/ 816837 h 816837"/>
                <a:gd name="connsiteX1" fmla="*/ 330063 w 331334"/>
                <a:gd name="connsiteY1" fmla="*/ 226286 h 816837"/>
                <a:gd name="connsiteX2" fmla="*/ 138122 w 331334"/>
                <a:gd name="connsiteY2" fmla="*/ 116952 h 816837"/>
                <a:gd name="connsiteX3" fmla="*/ 6211 w 331334"/>
                <a:gd name="connsiteY3" fmla="*/ 67534 h 816837"/>
                <a:gd name="connsiteX4" fmla="*/ 67331 w 331334"/>
                <a:gd name="connsiteY4" fmla="*/ 66 h 816837"/>
                <a:gd name="connsiteX0" fmla="*/ 319744 w 330191"/>
                <a:gd name="connsiteY0" fmla="*/ 816837 h 816837"/>
                <a:gd name="connsiteX1" fmla="*/ 330063 w 330191"/>
                <a:gd name="connsiteY1" fmla="*/ 226286 h 816837"/>
                <a:gd name="connsiteX2" fmla="*/ 138122 w 330191"/>
                <a:gd name="connsiteY2" fmla="*/ 116952 h 816837"/>
                <a:gd name="connsiteX3" fmla="*/ 6211 w 330191"/>
                <a:gd name="connsiteY3" fmla="*/ 67534 h 816837"/>
                <a:gd name="connsiteX4" fmla="*/ 67331 w 330191"/>
                <a:gd name="connsiteY4" fmla="*/ 66 h 816837"/>
                <a:gd name="connsiteX0" fmla="*/ 319744 w 330344"/>
                <a:gd name="connsiteY0" fmla="*/ 816837 h 816837"/>
                <a:gd name="connsiteX1" fmla="*/ 330063 w 330344"/>
                <a:gd name="connsiteY1" fmla="*/ 226286 h 816837"/>
                <a:gd name="connsiteX2" fmla="*/ 138122 w 330344"/>
                <a:gd name="connsiteY2" fmla="*/ 116952 h 816837"/>
                <a:gd name="connsiteX3" fmla="*/ 6211 w 330344"/>
                <a:gd name="connsiteY3" fmla="*/ 67534 h 816837"/>
                <a:gd name="connsiteX4" fmla="*/ 67331 w 330344"/>
                <a:gd name="connsiteY4" fmla="*/ 66 h 816837"/>
                <a:gd name="connsiteX0" fmla="*/ 361990 w 390906"/>
                <a:gd name="connsiteY0" fmla="*/ 857005 h 1190701"/>
                <a:gd name="connsiteX1" fmla="*/ 372309 w 390906"/>
                <a:gd name="connsiteY1" fmla="*/ 266454 h 1190701"/>
                <a:gd name="connsiteX2" fmla="*/ 75593 w 390906"/>
                <a:gd name="connsiteY2" fmla="*/ 1190583 h 1190701"/>
                <a:gd name="connsiteX3" fmla="*/ 48457 w 390906"/>
                <a:gd name="connsiteY3" fmla="*/ 107702 h 1190701"/>
                <a:gd name="connsiteX4" fmla="*/ 109577 w 390906"/>
                <a:gd name="connsiteY4" fmla="*/ 40234 h 1190701"/>
                <a:gd name="connsiteX0" fmla="*/ 578622 w 578622"/>
                <a:gd name="connsiteY0" fmla="*/ 857005 h 1412532"/>
                <a:gd name="connsiteX1" fmla="*/ 3154 w 578622"/>
                <a:gd name="connsiteY1" fmla="*/ 1404692 h 1412532"/>
                <a:gd name="connsiteX2" fmla="*/ 292225 w 578622"/>
                <a:gd name="connsiteY2" fmla="*/ 1190583 h 1412532"/>
                <a:gd name="connsiteX3" fmla="*/ 265089 w 578622"/>
                <a:gd name="connsiteY3" fmla="*/ 107702 h 1412532"/>
                <a:gd name="connsiteX4" fmla="*/ 326209 w 578622"/>
                <a:gd name="connsiteY4" fmla="*/ 40234 h 1412532"/>
                <a:gd name="connsiteX0" fmla="*/ 8 w 574088"/>
                <a:gd name="connsiteY0" fmla="*/ 1414218 h 1414218"/>
                <a:gd name="connsiteX1" fmla="*/ 238927 w 574088"/>
                <a:gd name="connsiteY1" fmla="*/ 1404692 h 1414218"/>
                <a:gd name="connsiteX2" fmla="*/ 527998 w 574088"/>
                <a:gd name="connsiteY2" fmla="*/ 1190583 h 1414218"/>
                <a:gd name="connsiteX3" fmla="*/ 500862 w 574088"/>
                <a:gd name="connsiteY3" fmla="*/ 107702 h 1414218"/>
                <a:gd name="connsiteX4" fmla="*/ 561982 w 574088"/>
                <a:gd name="connsiteY4" fmla="*/ 40234 h 1414218"/>
                <a:gd name="connsiteX0" fmla="*/ 0 w 574080"/>
                <a:gd name="connsiteY0" fmla="*/ 1414218 h 1478097"/>
                <a:gd name="connsiteX1" fmla="*/ 238919 w 574080"/>
                <a:gd name="connsiteY1" fmla="*/ 1404692 h 1478097"/>
                <a:gd name="connsiteX2" fmla="*/ 527990 w 574080"/>
                <a:gd name="connsiteY2" fmla="*/ 1190583 h 1478097"/>
                <a:gd name="connsiteX3" fmla="*/ 500854 w 574080"/>
                <a:gd name="connsiteY3" fmla="*/ 107702 h 1478097"/>
                <a:gd name="connsiteX4" fmla="*/ 561974 w 574080"/>
                <a:gd name="connsiteY4" fmla="*/ 40234 h 1478097"/>
                <a:gd name="connsiteX0" fmla="*/ 0 w 574080"/>
                <a:gd name="connsiteY0" fmla="*/ 1328493 h 1425235"/>
                <a:gd name="connsiteX1" fmla="*/ 238919 w 574080"/>
                <a:gd name="connsiteY1" fmla="*/ 1404692 h 1425235"/>
                <a:gd name="connsiteX2" fmla="*/ 527990 w 574080"/>
                <a:gd name="connsiteY2" fmla="*/ 1190583 h 1425235"/>
                <a:gd name="connsiteX3" fmla="*/ 500854 w 574080"/>
                <a:gd name="connsiteY3" fmla="*/ 107702 h 1425235"/>
                <a:gd name="connsiteX4" fmla="*/ 561974 w 574080"/>
                <a:gd name="connsiteY4" fmla="*/ 40234 h 1425235"/>
                <a:gd name="connsiteX0" fmla="*/ 0 w 561974"/>
                <a:gd name="connsiteY0" fmla="*/ 1328493 h 1425235"/>
                <a:gd name="connsiteX1" fmla="*/ 238919 w 561974"/>
                <a:gd name="connsiteY1" fmla="*/ 1404692 h 1425235"/>
                <a:gd name="connsiteX2" fmla="*/ 527990 w 561974"/>
                <a:gd name="connsiteY2" fmla="*/ 1190583 h 1425235"/>
                <a:gd name="connsiteX3" fmla="*/ 500854 w 561974"/>
                <a:gd name="connsiteY3" fmla="*/ 107702 h 1425235"/>
                <a:gd name="connsiteX4" fmla="*/ 561974 w 561974"/>
                <a:gd name="connsiteY4" fmla="*/ 40234 h 1425235"/>
                <a:gd name="connsiteX0" fmla="*/ 0 w 561974"/>
                <a:gd name="connsiteY0" fmla="*/ 1328493 h 1425235"/>
                <a:gd name="connsiteX1" fmla="*/ 238919 w 561974"/>
                <a:gd name="connsiteY1" fmla="*/ 1404692 h 1425235"/>
                <a:gd name="connsiteX2" fmla="*/ 527990 w 561974"/>
                <a:gd name="connsiteY2" fmla="*/ 1190583 h 1425235"/>
                <a:gd name="connsiteX3" fmla="*/ 500854 w 561974"/>
                <a:gd name="connsiteY3" fmla="*/ 107702 h 1425235"/>
                <a:gd name="connsiteX4" fmla="*/ 561974 w 561974"/>
                <a:gd name="connsiteY4" fmla="*/ 40234 h 1425235"/>
                <a:gd name="connsiteX0" fmla="*/ 0 w 561974"/>
                <a:gd name="connsiteY0" fmla="*/ 1330474 h 1425199"/>
                <a:gd name="connsiteX1" fmla="*/ 238919 w 561974"/>
                <a:gd name="connsiteY1" fmla="*/ 1406673 h 1425199"/>
                <a:gd name="connsiteX2" fmla="*/ 466077 w 561974"/>
                <a:gd name="connsiteY2" fmla="*/ 1221139 h 1425199"/>
                <a:gd name="connsiteX3" fmla="*/ 500854 w 561974"/>
                <a:gd name="connsiteY3" fmla="*/ 109683 h 1425199"/>
                <a:gd name="connsiteX4" fmla="*/ 561974 w 561974"/>
                <a:gd name="connsiteY4" fmla="*/ 42215 h 1425199"/>
                <a:gd name="connsiteX0" fmla="*/ 0 w 561974"/>
                <a:gd name="connsiteY0" fmla="*/ 1291314 h 1386039"/>
                <a:gd name="connsiteX1" fmla="*/ 238919 w 561974"/>
                <a:gd name="connsiteY1" fmla="*/ 1367513 h 1386039"/>
                <a:gd name="connsiteX2" fmla="*/ 466077 w 561974"/>
                <a:gd name="connsiteY2" fmla="*/ 1181979 h 1386039"/>
                <a:gd name="connsiteX3" fmla="*/ 486566 w 561974"/>
                <a:gd name="connsiteY3" fmla="*/ 165773 h 1386039"/>
                <a:gd name="connsiteX4" fmla="*/ 561974 w 561974"/>
                <a:gd name="connsiteY4" fmla="*/ 3055 h 1386039"/>
                <a:gd name="connsiteX0" fmla="*/ 0 w 559593"/>
                <a:gd name="connsiteY0" fmla="*/ 1279530 h 1374255"/>
                <a:gd name="connsiteX1" fmla="*/ 238919 w 559593"/>
                <a:gd name="connsiteY1" fmla="*/ 1355729 h 1374255"/>
                <a:gd name="connsiteX2" fmla="*/ 466077 w 559593"/>
                <a:gd name="connsiteY2" fmla="*/ 1170195 h 1374255"/>
                <a:gd name="connsiteX3" fmla="*/ 486566 w 559593"/>
                <a:gd name="connsiteY3" fmla="*/ 153989 h 1374255"/>
                <a:gd name="connsiteX4" fmla="*/ 559593 w 559593"/>
                <a:gd name="connsiteY4" fmla="*/ 5558 h 1374255"/>
                <a:gd name="connsiteX0" fmla="*/ 0 w 497680"/>
                <a:gd name="connsiteY0" fmla="*/ 1257105 h 1351830"/>
                <a:gd name="connsiteX1" fmla="*/ 238919 w 497680"/>
                <a:gd name="connsiteY1" fmla="*/ 1333304 h 1351830"/>
                <a:gd name="connsiteX2" fmla="*/ 466077 w 497680"/>
                <a:gd name="connsiteY2" fmla="*/ 1147770 h 1351830"/>
                <a:gd name="connsiteX3" fmla="*/ 486566 w 497680"/>
                <a:gd name="connsiteY3" fmla="*/ 131564 h 1351830"/>
                <a:gd name="connsiteX4" fmla="*/ 497680 w 497680"/>
                <a:gd name="connsiteY4" fmla="*/ 14090 h 1351830"/>
                <a:gd name="connsiteX0" fmla="*/ 0 w 614361"/>
                <a:gd name="connsiteY0" fmla="*/ 1152361 h 1247086"/>
                <a:gd name="connsiteX1" fmla="*/ 238919 w 614361"/>
                <a:gd name="connsiteY1" fmla="*/ 1228560 h 1247086"/>
                <a:gd name="connsiteX2" fmla="*/ 466077 w 614361"/>
                <a:gd name="connsiteY2" fmla="*/ 1043026 h 1247086"/>
                <a:gd name="connsiteX3" fmla="*/ 486566 w 614361"/>
                <a:gd name="connsiteY3" fmla="*/ 26820 h 1247086"/>
                <a:gd name="connsiteX4" fmla="*/ 614361 w 614361"/>
                <a:gd name="connsiteY4" fmla="*/ 273677 h 1247086"/>
                <a:gd name="connsiteX0" fmla="*/ 0 w 554830"/>
                <a:gd name="connsiteY0" fmla="*/ 1281429 h 1376154"/>
                <a:gd name="connsiteX1" fmla="*/ 238919 w 554830"/>
                <a:gd name="connsiteY1" fmla="*/ 1357628 h 1376154"/>
                <a:gd name="connsiteX2" fmla="*/ 466077 w 554830"/>
                <a:gd name="connsiteY2" fmla="*/ 1172094 h 1376154"/>
                <a:gd name="connsiteX3" fmla="*/ 486566 w 554830"/>
                <a:gd name="connsiteY3" fmla="*/ 155888 h 1376154"/>
                <a:gd name="connsiteX4" fmla="*/ 554830 w 554830"/>
                <a:gd name="connsiteY4" fmla="*/ 5076 h 1376154"/>
                <a:gd name="connsiteX0" fmla="*/ 0 w 554830"/>
                <a:gd name="connsiteY0" fmla="*/ 1276887 h 1371612"/>
                <a:gd name="connsiteX1" fmla="*/ 238919 w 554830"/>
                <a:gd name="connsiteY1" fmla="*/ 1353086 h 1371612"/>
                <a:gd name="connsiteX2" fmla="*/ 466077 w 554830"/>
                <a:gd name="connsiteY2" fmla="*/ 1167552 h 1371612"/>
                <a:gd name="connsiteX3" fmla="*/ 467516 w 554830"/>
                <a:gd name="connsiteY3" fmla="*/ 187065 h 1371612"/>
                <a:gd name="connsiteX4" fmla="*/ 554830 w 554830"/>
                <a:gd name="connsiteY4" fmla="*/ 534 h 1371612"/>
                <a:gd name="connsiteX0" fmla="*/ 0 w 554830"/>
                <a:gd name="connsiteY0" fmla="*/ 1276377 h 1371102"/>
                <a:gd name="connsiteX1" fmla="*/ 238919 w 554830"/>
                <a:gd name="connsiteY1" fmla="*/ 1352576 h 1371102"/>
                <a:gd name="connsiteX2" fmla="*/ 466077 w 554830"/>
                <a:gd name="connsiteY2" fmla="*/ 1167042 h 1371102"/>
                <a:gd name="connsiteX3" fmla="*/ 467516 w 554830"/>
                <a:gd name="connsiteY3" fmla="*/ 186555 h 1371102"/>
                <a:gd name="connsiteX4" fmla="*/ 554830 w 554830"/>
                <a:gd name="connsiteY4" fmla="*/ 24 h 1371102"/>
                <a:gd name="connsiteX0" fmla="*/ 0 w 554830"/>
                <a:gd name="connsiteY0" fmla="*/ 1276483 h 1371208"/>
                <a:gd name="connsiteX1" fmla="*/ 238919 w 554830"/>
                <a:gd name="connsiteY1" fmla="*/ 1352682 h 1371208"/>
                <a:gd name="connsiteX2" fmla="*/ 466077 w 554830"/>
                <a:gd name="connsiteY2" fmla="*/ 1167148 h 1371208"/>
                <a:gd name="connsiteX3" fmla="*/ 465135 w 554830"/>
                <a:gd name="connsiteY3" fmla="*/ 84268 h 1371208"/>
                <a:gd name="connsiteX4" fmla="*/ 554830 w 554830"/>
                <a:gd name="connsiteY4" fmla="*/ 130 h 1371208"/>
                <a:gd name="connsiteX0" fmla="*/ 0 w 554830"/>
                <a:gd name="connsiteY0" fmla="*/ 1308235 h 1402960"/>
                <a:gd name="connsiteX1" fmla="*/ 238919 w 554830"/>
                <a:gd name="connsiteY1" fmla="*/ 1384434 h 1402960"/>
                <a:gd name="connsiteX2" fmla="*/ 466077 w 554830"/>
                <a:gd name="connsiteY2" fmla="*/ 1198900 h 1402960"/>
                <a:gd name="connsiteX3" fmla="*/ 465135 w 554830"/>
                <a:gd name="connsiteY3" fmla="*/ 116020 h 1402960"/>
                <a:gd name="connsiteX4" fmla="*/ 554830 w 554830"/>
                <a:gd name="connsiteY4" fmla="*/ 31882 h 1402960"/>
                <a:gd name="connsiteX0" fmla="*/ 0 w 554830"/>
                <a:gd name="connsiteY0" fmla="*/ 1308235 h 1402960"/>
                <a:gd name="connsiteX1" fmla="*/ 238919 w 554830"/>
                <a:gd name="connsiteY1" fmla="*/ 1384434 h 1402960"/>
                <a:gd name="connsiteX2" fmla="*/ 466077 w 554830"/>
                <a:gd name="connsiteY2" fmla="*/ 1198900 h 1402960"/>
                <a:gd name="connsiteX3" fmla="*/ 465135 w 554830"/>
                <a:gd name="connsiteY3" fmla="*/ 116020 h 1402960"/>
                <a:gd name="connsiteX4" fmla="*/ 554830 w 554830"/>
                <a:gd name="connsiteY4" fmla="*/ 31882 h 1402960"/>
                <a:gd name="connsiteX0" fmla="*/ 0 w 588168"/>
                <a:gd name="connsiteY0" fmla="*/ 1286328 h 1381053"/>
                <a:gd name="connsiteX1" fmla="*/ 238919 w 588168"/>
                <a:gd name="connsiteY1" fmla="*/ 1362527 h 1381053"/>
                <a:gd name="connsiteX2" fmla="*/ 466077 w 588168"/>
                <a:gd name="connsiteY2" fmla="*/ 1176993 h 1381053"/>
                <a:gd name="connsiteX3" fmla="*/ 465135 w 588168"/>
                <a:gd name="connsiteY3" fmla="*/ 94113 h 1381053"/>
                <a:gd name="connsiteX4" fmla="*/ 588168 w 588168"/>
                <a:gd name="connsiteY4" fmla="*/ 57600 h 1381053"/>
                <a:gd name="connsiteX0" fmla="*/ 0 w 588168"/>
                <a:gd name="connsiteY0" fmla="*/ 1286328 h 1381053"/>
                <a:gd name="connsiteX1" fmla="*/ 238919 w 588168"/>
                <a:gd name="connsiteY1" fmla="*/ 1362527 h 1381053"/>
                <a:gd name="connsiteX2" fmla="*/ 466077 w 588168"/>
                <a:gd name="connsiteY2" fmla="*/ 1176993 h 1381053"/>
                <a:gd name="connsiteX3" fmla="*/ 465135 w 588168"/>
                <a:gd name="connsiteY3" fmla="*/ 94113 h 1381053"/>
                <a:gd name="connsiteX4" fmla="*/ 588168 w 588168"/>
                <a:gd name="connsiteY4" fmla="*/ 57600 h 1381053"/>
                <a:gd name="connsiteX0" fmla="*/ 0 w 595312"/>
                <a:gd name="connsiteY0" fmla="*/ 1262083 h 1356808"/>
                <a:gd name="connsiteX1" fmla="*/ 238919 w 595312"/>
                <a:gd name="connsiteY1" fmla="*/ 1338282 h 1356808"/>
                <a:gd name="connsiteX2" fmla="*/ 466077 w 595312"/>
                <a:gd name="connsiteY2" fmla="*/ 1152748 h 1356808"/>
                <a:gd name="connsiteX3" fmla="*/ 465135 w 595312"/>
                <a:gd name="connsiteY3" fmla="*/ 69868 h 1356808"/>
                <a:gd name="connsiteX4" fmla="*/ 595312 w 595312"/>
                <a:gd name="connsiteY4" fmla="*/ 104792 h 1356808"/>
                <a:gd name="connsiteX0" fmla="*/ 0 w 595312"/>
                <a:gd name="connsiteY0" fmla="*/ 1262083 h 1356808"/>
                <a:gd name="connsiteX1" fmla="*/ 238919 w 595312"/>
                <a:gd name="connsiteY1" fmla="*/ 1338282 h 1356808"/>
                <a:gd name="connsiteX2" fmla="*/ 466077 w 595312"/>
                <a:gd name="connsiteY2" fmla="*/ 1152748 h 1356808"/>
                <a:gd name="connsiteX3" fmla="*/ 465135 w 595312"/>
                <a:gd name="connsiteY3" fmla="*/ 69868 h 1356808"/>
                <a:gd name="connsiteX4" fmla="*/ 595312 w 595312"/>
                <a:gd name="connsiteY4" fmla="*/ 104792 h 1356808"/>
                <a:gd name="connsiteX0" fmla="*/ 0 w 557212"/>
                <a:gd name="connsiteY0" fmla="*/ 1308236 h 1402961"/>
                <a:gd name="connsiteX1" fmla="*/ 238919 w 557212"/>
                <a:gd name="connsiteY1" fmla="*/ 1384435 h 1402961"/>
                <a:gd name="connsiteX2" fmla="*/ 466077 w 557212"/>
                <a:gd name="connsiteY2" fmla="*/ 1198901 h 1402961"/>
                <a:gd name="connsiteX3" fmla="*/ 465135 w 557212"/>
                <a:gd name="connsiteY3" fmla="*/ 116021 h 1402961"/>
                <a:gd name="connsiteX4" fmla="*/ 557212 w 557212"/>
                <a:gd name="connsiteY4" fmla="*/ 31882 h 1402961"/>
                <a:gd name="connsiteX0" fmla="*/ 0 w 557212"/>
                <a:gd name="connsiteY0" fmla="*/ 1308236 h 1402961"/>
                <a:gd name="connsiteX1" fmla="*/ 238919 w 557212"/>
                <a:gd name="connsiteY1" fmla="*/ 1384435 h 1402961"/>
                <a:gd name="connsiteX2" fmla="*/ 466077 w 557212"/>
                <a:gd name="connsiteY2" fmla="*/ 1198901 h 1402961"/>
                <a:gd name="connsiteX3" fmla="*/ 465135 w 557212"/>
                <a:gd name="connsiteY3" fmla="*/ 116021 h 1402961"/>
                <a:gd name="connsiteX4" fmla="*/ 557212 w 557212"/>
                <a:gd name="connsiteY4" fmla="*/ 31882 h 1402961"/>
                <a:gd name="connsiteX0" fmla="*/ 0 w 557212"/>
                <a:gd name="connsiteY0" fmla="*/ 1308236 h 1402961"/>
                <a:gd name="connsiteX1" fmla="*/ 238919 w 557212"/>
                <a:gd name="connsiteY1" fmla="*/ 1384435 h 1402961"/>
                <a:gd name="connsiteX2" fmla="*/ 466077 w 557212"/>
                <a:gd name="connsiteY2" fmla="*/ 1198901 h 1402961"/>
                <a:gd name="connsiteX3" fmla="*/ 465135 w 557212"/>
                <a:gd name="connsiteY3" fmla="*/ 116021 h 1402961"/>
                <a:gd name="connsiteX4" fmla="*/ 557212 w 557212"/>
                <a:gd name="connsiteY4" fmla="*/ 31882 h 1402961"/>
                <a:gd name="connsiteX0" fmla="*/ 0 w 564356"/>
                <a:gd name="connsiteY0" fmla="*/ 1307001 h 1401726"/>
                <a:gd name="connsiteX1" fmla="*/ 238919 w 564356"/>
                <a:gd name="connsiteY1" fmla="*/ 1383200 h 1401726"/>
                <a:gd name="connsiteX2" fmla="*/ 466077 w 564356"/>
                <a:gd name="connsiteY2" fmla="*/ 1197666 h 1401726"/>
                <a:gd name="connsiteX3" fmla="*/ 465135 w 564356"/>
                <a:gd name="connsiteY3" fmla="*/ 114786 h 1401726"/>
                <a:gd name="connsiteX4" fmla="*/ 564356 w 564356"/>
                <a:gd name="connsiteY4" fmla="*/ 33028 h 1401726"/>
                <a:gd name="connsiteX0" fmla="*/ 0 w 564356"/>
                <a:gd name="connsiteY0" fmla="*/ 1301545 h 1396270"/>
                <a:gd name="connsiteX1" fmla="*/ 238919 w 564356"/>
                <a:gd name="connsiteY1" fmla="*/ 1377744 h 1396270"/>
                <a:gd name="connsiteX2" fmla="*/ 466077 w 564356"/>
                <a:gd name="connsiteY2" fmla="*/ 1192210 h 1396270"/>
                <a:gd name="connsiteX3" fmla="*/ 465135 w 564356"/>
                <a:gd name="connsiteY3" fmla="*/ 109330 h 1396270"/>
                <a:gd name="connsiteX4" fmla="*/ 497366 w 564356"/>
                <a:gd name="connsiteY4" fmla="*/ 27898 h 1396270"/>
                <a:gd name="connsiteX5" fmla="*/ 564356 w 564356"/>
                <a:gd name="connsiteY5" fmla="*/ 27572 h 1396270"/>
                <a:gd name="connsiteX0" fmla="*/ 0 w 564356"/>
                <a:gd name="connsiteY0" fmla="*/ 1281087 h 1375812"/>
                <a:gd name="connsiteX1" fmla="*/ 238919 w 564356"/>
                <a:gd name="connsiteY1" fmla="*/ 1357286 h 1375812"/>
                <a:gd name="connsiteX2" fmla="*/ 466077 w 564356"/>
                <a:gd name="connsiteY2" fmla="*/ 1171752 h 1375812"/>
                <a:gd name="connsiteX3" fmla="*/ 457991 w 564356"/>
                <a:gd name="connsiteY3" fmla="*/ 129353 h 1375812"/>
                <a:gd name="connsiteX4" fmla="*/ 497366 w 564356"/>
                <a:gd name="connsiteY4" fmla="*/ 7440 h 1375812"/>
                <a:gd name="connsiteX5" fmla="*/ 564356 w 564356"/>
                <a:gd name="connsiteY5" fmla="*/ 7114 h 1375812"/>
                <a:gd name="connsiteX0" fmla="*/ 0 w 564356"/>
                <a:gd name="connsiteY0" fmla="*/ 1280891 h 1375616"/>
                <a:gd name="connsiteX1" fmla="*/ 238919 w 564356"/>
                <a:gd name="connsiteY1" fmla="*/ 1357090 h 1375616"/>
                <a:gd name="connsiteX2" fmla="*/ 466077 w 564356"/>
                <a:gd name="connsiteY2" fmla="*/ 1171556 h 1375616"/>
                <a:gd name="connsiteX3" fmla="*/ 467516 w 564356"/>
                <a:gd name="connsiteY3" fmla="*/ 176782 h 1375616"/>
                <a:gd name="connsiteX4" fmla="*/ 497366 w 564356"/>
                <a:gd name="connsiteY4" fmla="*/ 7244 h 1375616"/>
                <a:gd name="connsiteX5" fmla="*/ 564356 w 564356"/>
                <a:gd name="connsiteY5" fmla="*/ 6918 h 1375616"/>
                <a:gd name="connsiteX0" fmla="*/ 0 w 564356"/>
                <a:gd name="connsiteY0" fmla="*/ 1274307 h 1369032"/>
                <a:gd name="connsiteX1" fmla="*/ 238919 w 564356"/>
                <a:gd name="connsiteY1" fmla="*/ 1350506 h 1369032"/>
                <a:gd name="connsiteX2" fmla="*/ 466077 w 564356"/>
                <a:gd name="connsiteY2" fmla="*/ 1164972 h 1369032"/>
                <a:gd name="connsiteX3" fmla="*/ 467516 w 564356"/>
                <a:gd name="connsiteY3" fmla="*/ 170198 h 1369032"/>
                <a:gd name="connsiteX4" fmla="*/ 497366 w 564356"/>
                <a:gd name="connsiteY4" fmla="*/ 48285 h 1369032"/>
                <a:gd name="connsiteX5" fmla="*/ 564356 w 564356"/>
                <a:gd name="connsiteY5" fmla="*/ 334 h 1369032"/>
                <a:gd name="connsiteX0" fmla="*/ 0 w 557213"/>
                <a:gd name="connsiteY0" fmla="*/ 1286138 h 1380863"/>
                <a:gd name="connsiteX1" fmla="*/ 238919 w 557213"/>
                <a:gd name="connsiteY1" fmla="*/ 1362337 h 1380863"/>
                <a:gd name="connsiteX2" fmla="*/ 466077 w 557213"/>
                <a:gd name="connsiteY2" fmla="*/ 1176803 h 1380863"/>
                <a:gd name="connsiteX3" fmla="*/ 467516 w 557213"/>
                <a:gd name="connsiteY3" fmla="*/ 182029 h 1380863"/>
                <a:gd name="connsiteX4" fmla="*/ 497366 w 557213"/>
                <a:gd name="connsiteY4" fmla="*/ 60116 h 1380863"/>
                <a:gd name="connsiteX5" fmla="*/ 557213 w 557213"/>
                <a:gd name="connsiteY5" fmla="*/ 259 h 1380863"/>
                <a:gd name="connsiteX0" fmla="*/ 0 w 557213"/>
                <a:gd name="connsiteY0" fmla="*/ 1286138 h 1380863"/>
                <a:gd name="connsiteX1" fmla="*/ 238919 w 557213"/>
                <a:gd name="connsiteY1" fmla="*/ 1362337 h 1380863"/>
                <a:gd name="connsiteX2" fmla="*/ 466077 w 557213"/>
                <a:gd name="connsiteY2" fmla="*/ 1176803 h 1380863"/>
                <a:gd name="connsiteX3" fmla="*/ 467516 w 557213"/>
                <a:gd name="connsiteY3" fmla="*/ 234416 h 1380863"/>
                <a:gd name="connsiteX4" fmla="*/ 497366 w 557213"/>
                <a:gd name="connsiteY4" fmla="*/ 60116 h 1380863"/>
                <a:gd name="connsiteX5" fmla="*/ 557213 w 557213"/>
                <a:gd name="connsiteY5" fmla="*/ 259 h 1380863"/>
                <a:gd name="connsiteX0" fmla="*/ 0 w 557213"/>
                <a:gd name="connsiteY0" fmla="*/ 1286212 h 1380937"/>
                <a:gd name="connsiteX1" fmla="*/ 238919 w 557213"/>
                <a:gd name="connsiteY1" fmla="*/ 1362411 h 1380937"/>
                <a:gd name="connsiteX2" fmla="*/ 466077 w 557213"/>
                <a:gd name="connsiteY2" fmla="*/ 1176877 h 1380937"/>
                <a:gd name="connsiteX3" fmla="*/ 467516 w 557213"/>
                <a:gd name="connsiteY3" fmla="*/ 234490 h 1380937"/>
                <a:gd name="connsiteX4" fmla="*/ 506891 w 557213"/>
                <a:gd name="connsiteY4" fmla="*/ 48284 h 1380937"/>
                <a:gd name="connsiteX5" fmla="*/ 557213 w 557213"/>
                <a:gd name="connsiteY5" fmla="*/ 333 h 1380937"/>
                <a:gd name="connsiteX0" fmla="*/ 0 w 557213"/>
                <a:gd name="connsiteY0" fmla="*/ 1286212 h 1380937"/>
                <a:gd name="connsiteX1" fmla="*/ 238919 w 557213"/>
                <a:gd name="connsiteY1" fmla="*/ 1362411 h 1380937"/>
                <a:gd name="connsiteX2" fmla="*/ 466077 w 557213"/>
                <a:gd name="connsiteY2" fmla="*/ 1176877 h 1380937"/>
                <a:gd name="connsiteX3" fmla="*/ 479423 w 557213"/>
                <a:gd name="connsiteY3" fmla="*/ 224965 h 1380937"/>
                <a:gd name="connsiteX4" fmla="*/ 506891 w 557213"/>
                <a:gd name="connsiteY4" fmla="*/ 48284 h 1380937"/>
                <a:gd name="connsiteX5" fmla="*/ 557213 w 557213"/>
                <a:gd name="connsiteY5" fmla="*/ 333 h 1380937"/>
                <a:gd name="connsiteX0" fmla="*/ 0 w 557213"/>
                <a:gd name="connsiteY0" fmla="*/ 1286212 h 1379600"/>
                <a:gd name="connsiteX1" fmla="*/ 238919 w 557213"/>
                <a:gd name="connsiteY1" fmla="*/ 1362411 h 1379600"/>
                <a:gd name="connsiteX2" fmla="*/ 463696 w 557213"/>
                <a:gd name="connsiteY2" fmla="*/ 1195927 h 1379600"/>
                <a:gd name="connsiteX3" fmla="*/ 479423 w 557213"/>
                <a:gd name="connsiteY3" fmla="*/ 224965 h 1379600"/>
                <a:gd name="connsiteX4" fmla="*/ 506891 w 557213"/>
                <a:gd name="connsiteY4" fmla="*/ 48284 h 1379600"/>
                <a:gd name="connsiteX5" fmla="*/ 557213 w 557213"/>
                <a:gd name="connsiteY5" fmla="*/ 333 h 1379600"/>
                <a:gd name="connsiteX0" fmla="*/ 0 w 557213"/>
                <a:gd name="connsiteY0" fmla="*/ 1286212 h 1379600"/>
                <a:gd name="connsiteX1" fmla="*/ 238919 w 557213"/>
                <a:gd name="connsiteY1" fmla="*/ 1362411 h 1379600"/>
                <a:gd name="connsiteX2" fmla="*/ 463696 w 557213"/>
                <a:gd name="connsiteY2" fmla="*/ 1195927 h 1379600"/>
                <a:gd name="connsiteX3" fmla="*/ 479423 w 557213"/>
                <a:gd name="connsiteY3" fmla="*/ 224965 h 1379600"/>
                <a:gd name="connsiteX4" fmla="*/ 506891 w 557213"/>
                <a:gd name="connsiteY4" fmla="*/ 48284 h 1379600"/>
                <a:gd name="connsiteX5" fmla="*/ 557213 w 557213"/>
                <a:gd name="connsiteY5" fmla="*/ 333 h 1379600"/>
                <a:gd name="connsiteX0" fmla="*/ 0 w 557213"/>
                <a:gd name="connsiteY0" fmla="*/ 1286212 h 1388913"/>
                <a:gd name="connsiteX1" fmla="*/ 253207 w 557213"/>
                <a:gd name="connsiteY1" fmla="*/ 1376698 h 1388913"/>
                <a:gd name="connsiteX2" fmla="*/ 463696 w 557213"/>
                <a:gd name="connsiteY2" fmla="*/ 1195927 h 1388913"/>
                <a:gd name="connsiteX3" fmla="*/ 479423 w 557213"/>
                <a:gd name="connsiteY3" fmla="*/ 224965 h 1388913"/>
                <a:gd name="connsiteX4" fmla="*/ 506891 w 557213"/>
                <a:gd name="connsiteY4" fmla="*/ 48284 h 1388913"/>
                <a:gd name="connsiteX5" fmla="*/ 557213 w 557213"/>
                <a:gd name="connsiteY5" fmla="*/ 333 h 1388913"/>
                <a:gd name="connsiteX0" fmla="*/ 0 w 557213"/>
                <a:gd name="connsiteY0" fmla="*/ 1286212 h 1384610"/>
                <a:gd name="connsiteX1" fmla="*/ 253207 w 557213"/>
                <a:gd name="connsiteY1" fmla="*/ 1376698 h 1384610"/>
                <a:gd name="connsiteX2" fmla="*/ 463696 w 557213"/>
                <a:gd name="connsiteY2" fmla="*/ 1195927 h 1384610"/>
                <a:gd name="connsiteX3" fmla="*/ 479423 w 557213"/>
                <a:gd name="connsiteY3" fmla="*/ 224965 h 1384610"/>
                <a:gd name="connsiteX4" fmla="*/ 506891 w 557213"/>
                <a:gd name="connsiteY4" fmla="*/ 48284 h 1384610"/>
                <a:gd name="connsiteX5" fmla="*/ 557213 w 557213"/>
                <a:gd name="connsiteY5" fmla="*/ 333 h 1384610"/>
                <a:gd name="connsiteX0" fmla="*/ 0 w 557213"/>
                <a:gd name="connsiteY0" fmla="*/ 1286212 h 1385176"/>
                <a:gd name="connsiteX1" fmla="*/ 253207 w 557213"/>
                <a:gd name="connsiteY1" fmla="*/ 1376698 h 1385176"/>
                <a:gd name="connsiteX2" fmla="*/ 463696 w 557213"/>
                <a:gd name="connsiteY2" fmla="*/ 1195927 h 1385176"/>
                <a:gd name="connsiteX3" fmla="*/ 479423 w 557213"/>
                <a:gd name="connsiteY3" fmla="*/ 224965 h 1385176"/>
                <a:gd name="connsiteX4" fmla="*/ 506891 w 557213"/>
                <a:gd name="connsiteY4" fmla="*/ 48284 h 1385176"/>
                <a:gd name="connsiteX5" fmla="*/ 557213 w 557213"/>
                <a:gd name="connsiteY5" fmla="*/ 333 h 1385176"/>
                <a:gd name="connsiteX0" fmla="*/ 0 w 557213"/>
                <a:gd name="connsiteY0" fmla="*/ 1286212 h 1385018"/>
                <a:gd name="connsiteX1" fmla="*/ 253207 w 557213"/>
                <a:gd name="connsiteY1" fmla="*/ 1376698 h 1385018"/>
                <a:gd name="connsiteX2" fmla="*/ 463696 w 557213"/>
                <a:gd name="connsiteY2" fmla="*/ 1195927 h 1385018"/>
                <a:gd name="connsiteX3" fmla="*/ 479423 w 557213"/>
                <a:gd name="connsiteY3" fmla="*/ 224965 h 1385018"/>
                <a:gd name="connsiteX4" fmla="*/ 506891 w 557213"/>
                <a:gd name="connsiteY4" fmla="*/ 48284 h 1385018"/>
                <a:gd name="connsiteX5" fmla="*/ 557213 w 557213"/>
                <a:gd name="connsiteY5" fmla="*/ 333 h 1385018"/>
                <a:gd name="connsiteX0" fmla="*/ 0 w 557213"/>
                <a:gd name="connsiteY0" fmla="*/ 1286212 h 1385018"/>
                <a:gd name="connsiteX1" fmla="*/ 253207 w 557213"/>
                <a:gd name="connsiteY1" fmla="*/ 1376698 h 1385018"/>
                <a:gd name="connsiteX2" fmla="*/ 463696 w 557213"/>
                <a:gd name="connsiteY2" fmla="*/ 1195927 h 1385018"/>
                <a:gd name="connsiteX3" fmla="*/ 479423 w 557213"/>
                <a:gd name="connsiteY3" fmla="*/ 224965 h 1385018"/>
                <a:gd name="connsiteX4" fmla="*/ 506891 w 557213"/>
                <a:gd name="connsiteY4" fmla="*/ 48284 h 1385018"/>
                <a:gd name="connsiteX5" fmla="*/ 557213 w 557213"/>
                <a:gd name="connsiteY5" fmla="*/ 333 h 1385018"/>
                <a:gd name="connsiteX0" fmla="*/ 0 w 557213"/>
                <a:gd name="connsiteY0" fmla="*/ 1286212 h 1385018"/>
                <a:gd name="connsiteX1" fmla="*/ 253207 w 557213"/>
                <a:gd name="connsiteY1" fmla="*/ 1376698 h 1385018"/>
                <a:gd name="connsiteX2" fmla="*/ 463696 w 557213"/>
                <a:gd name="connsiteY2" fmla="*/ 1195927 h 1385018"/>
                <a:gd name="connsiteX3" fmla="*/ 479423 w 557213"/>
                <a:gd name="connsiteY3" fmla="*/ 224965 h 1385018"/>
                <a:gd name="connsiteX4" fmla="*/ 506891 w 557213"/>
                <a:gd name="connsiteY4" fmla="*/ 48284 h 1385018"/>
                <a:gd name="connsiteX5" fmla="*/ 557213 w 557213"/>
                <a:gd name="connsiteY5" fmla="*/ 333 h 1385018"/>
                <a:gd name="connsiteX0" fmla="*/ 0 w 557213"/>
                <a:gd name="connsiteY0" fmla="*/ 1286212 h 1460850"/>
                <a:gd name="connsiteX1" fmla="*/ 253207 w 557213"/>
                <a:gd name="connsiteY1" fmla="*/ 1376698 h 1460850"/>
                <a:gd name="connsiteX2" fmla="*/ 466077 w 557213"/>
                <a:gd name="connsiteY2" fmla="*/ 1364996 h 1460850"/>
                <a:gd name="connsiteX3" fmla="*/ 479423 w 557213"/>
                <a:gd name="connsiteY3" fmla="*/ 224965 h 1460850"/>
                <a:gd name="connsiteX4" fmla="*/ 506891 w 557213"/>
                <a:gd name="connsiteY4" fmla="*/ 48284 h 1460850"/>
                <a:gd name="connsiteX5" fmla="*/ 557213 w 557213"/>
                <a:gd name="connsiteY5" fmla="*/ 333 h 1460850"/>
                <a:gd name="connsiteX0" fmla="*/ 0 w 557213"/>
                <a:gd name="connsiteY0" fmla="*/ 1286212 h 1495976"/>
                <a:gd name="connsiteX1" fmla="*/ 241301 w 557213"/>
                <a:gd name="connsiteY1" fmla="*/ 1462423 h 1495976"/>
                <a:gd name="connsiteX2" fmla="*/ 466077 w 557213"/>
                <a:gd name="connsiteY2" fmla="*/ 1364996 h 1495976"/>
                <a:gd name="connsiteX3" fmla="*/ 479423 w 557213"/>
                <a:gd name="connsiteY3" fmla="*/ 224965 h 1495976"/>
                <a:gd name="connsiteX4" fmla="*/ 506891 w 557213"/>
                <a:gd name="connsiteY4" fmla="*/ 48284 h 1495976"/>
                <a:gd name="connsiteX5" fmla="*/ 557213 w 557213"/>
                <a:gd name="connsiteY5" fmla="*/ 333 h 1495976"/>
                <a:gd name="connsiteX0" fmla="*/ 0 w 557213"/>
                <a:gd name="connsiteY0" fmla="*/ 1286212 h 1499599"/>
                <a:gd name="connsiteX1" fmla="*/ 241301 w 557213"/>
                <a:gd name="connsiteY1" fmla="*/ 1462423 h 1499599"/>
                <a:gd name="connsiteX2" fmla="*/ 466077 w 557213"/>
                <a:gd name="connsiteY2" fmla="*/ 1364996 h 1499599"/>
                <a:gd name="connsiteX3" fmla="*/ 479423 w 557213"/>
                <a:gd name="connsiteY3" fmla="*/ 224965 h 1499599"/>
                <a:gd name="connsiteX4" fmla="*/ 506891 w 557213"/>
                <a:gd name="connsiteY4" fmla="*/ 48284 h 1499599"/>
                <a:gd name="connsiteX5" fmla="*/ 557213 w 557213"/>
                <a:gd name="connsiteY5" fmla="*/ 333 h 1499599"/>
                <a:gd name="connsiteX0" fmla="*/ 0 w 557213"/>
                <a:gd name="connsiteY0" fmla="*/ 1286212 h 1514231"/>
                <a:gd name="connsiteX1" fmla="*/ 272257 w 557213"/>
                <a:gd name="connsiteY1" fmla="*/ 1486236 h 1514231"/>
                <a:gd name="connsiteX2" fmla="*/ 466077 w 557213"/>
                <a:gd name="connsiteY2" fmla="*/ 1364996 h 1514231"/>
                <a:gd name="connsiteX3" fmla="*/ 479423 w 557213"/>
                <a:gd name="connsiteY3" fmla="*/ 224965 h 1514231"/>
                <a:gd name="connsiteX4" fmla="*/ 506891 w 557213"/>
                <a:gd name="connsiteY4" fmla="*/ 48284 h 1514231"/>
                <a:gd name="connsiteX5" fmla="*/ 557213 w 557213"/>
                <a:gd name="connsiteY5" fmla="*/ 333 h 1514231"/>
                <a:gd name="connsiteX0" fmla="*/ 0 w 557213"/>
                <a:gd name="connsiteY0" fmla="*/ 1286212 h 1510287"/>
                <a:gd name="connsiteX1" fmla="*/ 272257 w 557213"/>
                <a:gd name="connsiteY1" fmla="*/ 1486236 h 1510287"/>
                <a:gd name="connsiteX2" fmla="*/ 458933 w 557213"/>
                <a:gd name="connsiteY2" fmla="*/ 1364996 h 1510287"/>
                <a:gd name="connsiteX3" fmla="*/ 479423 w 557213"/>
                <a:gd name="connsiteY3" fmla="*/ 224965 h 1510287"/>
                <a:gd name="connsiteX4" fmla="*/ 506891 w 557213"/>
                <a:gd name="connsiteY4" fmla="*/ 48284 h 1510287"/>
                <a:gd name="connsiteX5" fmla="*/ 557213 w 557213"/>
                <a:gd name="connsiteY5" fmla="*/ 333 h 1510287"/>
                <a:gd name="connsiteX0" fmla="*/ 0 w 557213"/>
                <a:gd name="connsiteY0" fmla="*/ 1286212 h 1524714"/>
                <a:gd name="connsiteX1" fmla="*/ 348457 w 557213"/>
                <a:gd name="connsiteY1" fmla="*/ 1507667 h 1524714"/>
                <a:gd name="connsiteX2" fmla="*/ 458933 w 557213"/>
                <a:gd name="connsiteY2" fmla="*/ 1364996 h 1524714"/>
                <a:gd name="connsiteX3" fmla="*/ 479423 w 557213"/>
                <a:gd name="connsiteY3" fmla="*/ 224965 h 1524714"/>
                <a:gd name="connsiteX4" fmla="*/ 506891 w 557213"/>
                <a:gd name="connsiteY4" fmla="*/ 48284 h 1524714"/>
                <a:gd name="connsiteX5" fmla="*/ 557213 w 557213"/>
                <a:gd name="connsiteY5" fmla="*/ 333 h 1524714"/>
                <a:gd name="connsiteX0" fmla="*/ 0 w 557213"/>
                <a:gd name="connsiteY0" fmla="*/ 1286212 h 1521376"/>
                <a:gd name="connsiteX1" fmla="*/ 331788 w 557213"/>
                <a:gd name="connsiteY1" fmla="*/ 1502905 h 1521376"/>
                <a:gd name="connsiteX2" fmla="*/ 458933 w 557213"/>
                <a:gd name="connsiteY2" fmla="*/ 1364996 h 1521376"/>
                <a:gd name="connsiteX3" fmla="*/ 479423 w 557213"/>
                <a:gd name="connsiteY3" fmla="*/ 224965 h 1521376"/>
                <a:gd name="connsiteX4" fmla="*/ 506891 w 557213"/>
                <a:gd name="connsiteY4" fmla="*/ 48284 h 1521376"/>
                <a:gd name="connsiteX5" fmla="*/ 557213 w 557213"/>
                <a:gd name="connsiteY5" fmla="*/ 333 h 1521376"/>
                <a:gd name="connsiteX0" fmla="*/ 0 w 557213"/>
                <a:gd name="connsiteY0" fmla="*/ 1286212 h 1525075"/>
                <a:gd name="connsiteX1" fmla="*/ 331788 w 557213"/>
                <a:gd name="connsiteY1" fmla="*/ 1502905 h 1525075"/>
                <a:gd name="connsiteX2" fmla="*/ 458933 w 557213"/>
                <a:gd name="connsiteY2" fmla="*/ 1364996 h 1525075"/>
                <a:gd name="connsiteX3" fmla="*/ 479423 w 557213"/>
                <a:gd name="connsiteY3" fmla="*/ 224965 h 1525075"/>
                <a:gd name="connsiteX4" fmla="*/ 506891 w 557213"/>
                <a:gd name="connsiteY4" fmla="*/ 48284 h 1525075"/>
                <a:gd name="connsiteX5" fmla="*/ 557213 w 557213"/>
                <a:gd name="connsiteY5" fmla="*/ 333 h 1525075"/>
                <a:gd name="connsiteX0" fmla="*/ 0 w 557213"/>
                <a:gd name="connsiteY0" fmla="*/ 1286212 h 1512024"/>
                <a:gd name="connsiteX1" fmla="*/ 52073 w 557213"/>
                <a:gd name="connsiteY1" fmla="*/ 1417502 h 1512024"/>
                <a:gd name="connsiteX2" fmla="*/ 331788 w 557213"/>
                <a:gd name="connsiteY2" fmla="*/ 1502905 h 1512024"/>
                <a:gd name="connsiteX3" fmla="*/ 458933 w 557213"/>
                <a:gd name="connsiteY3" fmla="*/ 1364996 h 1512024"/>
                <a:gd name="connsiteX4" fmla="*/ 479423 w 557213"/>
                <a:gd name="connsiteY4" fmla="*/ 224965 h 1512024"/>
                <a:gd name="connsiteX5" fmla="*/ 506891 w 557213"/>
                <a:gd name="connsiteY5" fmla="*/ 48284 h 1512024"/>
                <a:gd name="connsiteX6" fmla="*/ 557213 w 557213"/>
                <a:gd name="connsiteY6" fmla="*/ 333 h 1512024"/>
                <a:gd name="connsiteX0" fmla="*/ 0 w 557213"/>
                <a:gd name="connsiteY0" fmla="*/ 1286212 h 1512696"/>
                <a:gd name="connsiteX1" fmla="*/ 40167 w 557213"/>
                <a:gd name="connsiteY1" fmla="*/ 1407977 h 1512696"/>
                <a:gd name="connsiteX2" fmla="*/ 331788 w 557213"/>
                <a:gd name="connsiteY2" fmla="*/ 1502905 h 1512696"/>
                <a:gd name="connsiteX3" fmla="*/ 458933 w 557213"/>
                <a:gd name="connsiteY3" fmla="*/ 1364996 h 1512696"/>
                <a:gd name="connsiteX4" fmla="*/ 479423 w 557213"/>
                <a:gd name="connsiteY4" fmla="*/ 224965 h 1512696"/>
                <a:gd name="connsiteX5" fmla="*/ 506891 w 557213"/>
                <a:gd name="connsiteY5" fmla="*/ 48284 h 1512696"/>
                <a:gd name="connsiteX6" fmla="*/ 557213 w 557213"/>
                <a:gd name="connsiteY6" fmla="*/ 333 h 1512696"/>
                <a:gd name="connsiteX0" fmla="*/ 0 w 557213"/>
                <a:gd name="connsiteY0" fmla="*/ 1286212 h 1522894"/>
                <a:gd name="connsiteX1" fmla="*/ 40167 w 557213"/>
                <a:gd name="connsiteY1" fmla="*/ 1407977 h 1522894"/>
                <a:gd name="connsiteX2" fmla="*/ 331788 w 557213"/>
                <a:gd name="connsiteY2" fmla="*/ 1502905 h 1522894"/>
                <a:gd name="connsiteX3" fmla="*/ 458933 w 557213"/>
                <a:gd name="connsiteY3" fmla="*/ 1364996 h 1522894"/>
                <a:gd name="connsiteX4" fmla="*/ 479423 w 557213"/>
                <a:gd name="connsiteY4" fmla="*/ 224965 h 1522894"/>
                <a:gd name="connsiteX5" fmla="*/ 506891 w 557213"/>
                <a:gd name="connsiteY5" fmla="*/ 48284 h 1522894"/>
                <a:gd name="connsiteX6" fmla="*/ 557213 w 557213"/>
                <a:gd name="connsiteY6" fmla="*/ 333 h 1522894"/>
                <a:gd name="connsiteX0" fmla="*/ 3789 w 561002"/>
                <a:gd name="connsiteY0" fmla="*/ 1286212 h 1510016"/>
                <a:gd name="connsiteX1" fmla="*/ 29669 w 561002"/>
                <a:gd name="connsiteY1" fmla="*/ 1446077 h 1510016"/>
                <a:gd name="connsiteX2" fmla="*/ 335577 w 561002"/>
                <a:gd name="connsiteY2" fmla="*/ 1502905 h 1510016"/>
                <a:gd name="connsiteX3" fmla="*/ 462722 w 561002"/>
                <a:gd name="connsiteY3" fmla="*/ 1364996 h 1510016"/>
                <a:gd name="connsiteX4" fmla="*/ 483212 w 561002"/>
                <a:gd name="connsiteY4" fmla="*/ 224965 h 1510016"/>
                <a:gd name="connsiteX5" fmla="*/ 510680 w 561002"/>
                <a:gd name="connsiteY5" fmla="*/ 48284 h 1510016"/>
                <a:gd name="connsiteX6" fmla="*/ 561002 w 561002"/>
                <a:gd name="connsiteY6" fmla="*/ 333 h 1510016"/>
                <a:gd name="connsiteX0" fmla="*/ 3789 w 561002"/>
                <a:gd name="connsiteY0" fmla="*/ 1286212 h 1513208"/>
                <a:gd name="connsiteX1" fmla="*/ 29669 w 561002"/>
                <a:gd name="connsiteY1" fmla="*/ 1446077 h 1513208"/>
                <a:gd name="connsiteX2" fmla="*/ 292715 w 561002"/>
                <a:gd name="connsiteY2" fmla="*/ 1507668 h 1513208"/>
                <a:gd name="connsiteX3" fmla="*/ 462722 w 561002"/>
                <a:gd name="connsiteY3" fmla="*/ 1364996 h 1513208"/>
                <a:gd name="connsiteX4" fmla="*/ 483212 w 561002"/>
                <a:gd name="connsiteY4" fmla="*/ 224965 h 1513208"/>
                <a:gd name="connsiteX5" fmla="*/ 510680 w 561002"/>
                <a:gd name="connsiteY5" fmla="*/ 48284 h 1513208"/>
                <a:gd name="connsiteX6" fmla="*/ 561002 w 561002"/>
                <a:gd name="connsiteY6" fmla="*/ 333 h 1513208"/>
                <a:gd name="connsiteX0" fmla="*/ 3789 w 561002"/>
                <a:gd name="connsiteY0" fmla="*/ 1286212 h 1519352"/>
                <a:gd name="connsiteX1" fmla="*/ 29669 w 561002"/>
                <a:gd name="connsiteY1" fmla="*/ 1446077 h 1519352"/>
                <a:gd name="connsiteX2" fmla="*/ 292715 w 561002"/>
                <a:gd name="connsiteY2" fmla="*/ 1507668 h 1519352"/>
                <a:gd name="connsiteX3" fmla="*/ 462722 w 561002"/>
                <a:gd name="connsiteY3" fmla="*/ 1364996 h 1519352"/>
                <a:gd name="connsiteX4" fmla="*/ 483212 w 561002"/>
                <a:gd name="connsiteY4" fmla="*/ 224965 h 1519352"/>
                <a:gd name="connsiteX5" fmla="*/ 510680 w 561002"/>
                <a:gd name="connsiteY5" fmla="*/ 48284 h 1519352"/>
                <a:gd name="connsiteX6" fmla="*/ 561002 w 561002"/>
                <a:gd name="connsiteY6" fmla="*/ 333 h 1519352"/>
                <a:gd name="connsiteX0" fmla="*/ 3789 w 561002"/>
                <a:gd name="connsiteY0" fmla="*/ 1286212 h 1525556"/>
                <a:gd name="connsiteX1" fmla="*/ 29669 w 561002"/>
                <a:gd name="connsiteY1" fmla="*/ 1446077 h 1525556"/>
                <a:gd name="connsiteX2" fmla="*/ 292715 w 561002"/>
                <a:gd name="connsiteY2" fmla="*/ 1507668 h 1525556"/>
                <a:gd name="connsiteX3" fmla="*/ 462722 w 561002"/>
                <a:gd name="connsiteY3" fmla="*/ 1364996 h 1525556"/>
                <a:gd name="connsiteX4" fmla="*/ 483212 w 561002"/>
                <a:gd name="connsiteY4" fmla="*/ 224965 h 1525556"/>
                <a:gd name="connsiteX5" fmla="*/ 510680 w 561002"/>
                <a:gd name="connsiteY5" fmla="*/ 48284 h 1525556"/>
                <a:gd name="connsiteX6" fmla="*/ 561002 w 561002"/>
                <a:gd name="connsiteY6" fmla="*/ 333 h 1525556"/>
                <a:gd name="connsiteX0" fmla="*/ 3789 w 561002"/>
                <a:gd name="connsiteY0" fmla="*/ 1286212 h 1518565"/>
                <a:gd name="connsiteX1" fmla="*/ 29669 w 561002"/>
                <a:gd name="connsiteY1" fmla="*/ 1446077 h 1518565"/>
                <a:gd name="connsiteX2" fmla="*/ 292715 w 561002"/>
                <a:gd name="connsiteY2" fmla="*/ 1507668 h 1518565"/>
                <a:gd name="connsiteX3" fmla="*/ 462722 w 561002"/>
                <a:gd name="connsiteY3" fmla="*/ 1364996 h 1518565"/>
                <a:gd name="connsiteX4" fmla="*/ 483212 w 561002"/>
                <a:gd name="connsiteY4" fmla="*/ 224965 h 1518565"/>
                <a:gd name="connsiteX5" fmla="*/ 510680 w 561002"/>
                <a:gd name="connsiteY5" fmla="*/ 48284 h 1518565"/>
                <a:gd name="connsiteX6" fmla="*/ 561002 w 561002"/>
                <a:gd name="connsiteY6" fmla="*/ 333 h 151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002" h="1518565">
                  <a:moveTo>
                    <a:pt x="3789" y="1286212"/>
                  </a:moveTo>
                  <a:cubicBezTo>
                    <a:pt x="15643" y="1304522"/>
                    <a:pt x="-25629" y="1409962"/>
                    <a:pt x="29669" y="1446077"/>
                  </a:cubicBezTo>
                  <a:cubicBezTo>
                    <a:pt x="84967" y="1482193"/>
                    <a:pt x="206252" y="1492605"/>
                    <a:pt x="292715" y="1507668"/>
                  </a:cubicBezTo>
                  <a:cubicBezTo>
                    <a:pt x="379178" y="1522731"/>
                    <a:pt x="454785" y="1550205"/>
                    <a:pt x="462722" y="1364996"/>
                  </a:cubicBezTo>
                  <a:cubicBezTo>
                    <a:pt x="470659" y="1179787"/>
                    <a:pt x="475219" y="444417"/>
                    <a:pt x="483212" y="224965"/>
                  </a:cubicBezTo>
                  <a:cubicBezTo>
                    <a:pt x="491205" y="5513"/>
                    <a:pt x="494143" y="61910"/>
                    <a:pt x="510680" y="48284"/>
                  </a:cubicBezTo>
                  <a:cubicBezTo>
                    <a:pt x="527217" y="34658"/>
                    <a:pt x="550631" y="-3978"/>
                    <a:pt x="561002" y="333"/>
                  </a:cubicBezTo>
                </a:path>
              </a:pathLst>
            </a:custGeom>
            <a:noFill/>
            <a:ln w="28575">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36" name="Grafik 35"/>
            <p:cNvPicPr>
              <a:picLocks noChangeAspect="1"/>
            </p:cNvPicPr>
            <p:nvPr/>
          </p:nvPicPr>
          <p:blipFill>
            <a:blip r:embed="rId12"/>
            <a:stretch>
              <a:fillRect/>
            </a:stretch>
          </p:blipFill>
          <p:spPr>
            <a:xfrm>
              <a:off x="5803085" y="4773834"/>
              <a:ext cx="242035" cy="88208"/>
            </a:xfrm>
            <a:prstGeom prst="rect">
              <a:avLst/>
            </a:prstGeom>
          </p:spPr>
        </p:pic>
        <p:sp>
          <p:nvSpPr>
            <p:cNvPr id="37" name="Rechteck 36"/>
            <p:cNvSpPr/>
            <p:nvPr/>
          </p:nvSpPr>
          <p:spPr>
            <a:xfrm>
              <a:off x="5808611" y="4624872"/>
              <a:ext cx="230981" cy="146488"/>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de-DE" sz="200" dirty="0">
                  <a:solidFill>
                    <a:schemeClr val="tx1"/>
                  </a:solidFill>
                </a:rPr>
                <a:t> </a:t>
              </a:r>
              <a:r>
                <a:rPr lang="de-DE" sz="200" b="1" dirty="0">
                  <a:solidFill>
                    <a:schemeClr val="tx1"/>
                  </a:solidFill>
                </a:rPr>
                <a:t>AL1100</a:t>
              </a:r>
              <a:r>
                <a:rPr lang="de-DE" sz="200" dirty="0">
                  <a:solidFill>
                    <a:schemeClr val="tx1"/>
                  </a:solidFill>
                </a:rPr>
                <a:t/>
              </a:r>
              <a:br>
                <a:rPr lang="de-DE" sz="200" dirty="0">
                  <a:solidFill>
                    <a:schemeClr val="tx1"/>
                  </a:solidFill>
                </a:rPr>
              </a:br>
              <a:r>
                <a:rPr lang="de-DE" sz="200" dirty="0">
                  <a:solidFill>
                    <a:schemeClr val="tx1"/>
                  </a:solidFill>
                </a:rPr>
                <a:t>P1: TAD1234</a:t>
              </a:r>
            </a:p>
            <a:p>
              <a:r>
                <a:rPr lang="de-DE" sz="200" dirty="0">
                  <a:solidFill>
                    <a:schemeClr val="tx1"/>
                  </a:solidFill>
                </a:rPr>
                <a:t>P2: PP7751</a:t>
              </a:r>
            </a:p>
            <a:p>
              <a:r>
                <a:rPr lang="de-DE" sz="200" dirty="0">
                  <a:solidFill>
                    <a:schemeClr val="tx1"/>
                  </a:solidFill>
                </a:rPr>
                <a:t>P3:</a:t>
              </a:r>
            </a:p>
            <a:p>
              <a:r>
                <a:rPr lang="de-DE" sz="200" dirty="0">
                  <a:solidFill>
                    <a:schemeClr val="tx1"/>
                  </a:solidFill>
                </a:rPr>
                <a:t>P4: O5D150</a:t>
              </a:r>
            </a:p>
          </p:txBody>
        </p:sp>
        <p:sp>
          <p:nvSpPr>
            <p:cNvPr id="38" name="Rechteck 37"/>
            <p:cNvSpPr/>
            <p:nvPr/>
          </p:nvSpPr>
          <p:spPr>
            <a:xfrm>
              <a:off x="5805436" y="4742785"/>
              <a:ext cx="239684" cy="36000"/>
            </a:xfrm>
            <a:prstGeom prst="rect">
              <a:avLst/>
            </a:prstGeom>
            <a:solidFill>
              <a:srgbClr val="C6D9F1">
                <a:alpha val="50196"/>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pic>
        <p:nvPicPr>
          <p:cNvPr id="39" name="Picture 2" descr="ifm's new encoders offer extended functionalities, full IO-Link support and free configuratio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431243" y="4323330"/>
            <a:ext cx="1951494" cy="1378773"/>
          </a:xfrm>
          <a:prstGeom prst="rect">
            <a:avLst/>
          </a:prstGeom>
          <a:noFill/>
          <a:extLst>
            <a:ext uri="{909E8E84-426E-40DD-AFC4-6F175D3DCCD1}">
              <a14:hiddenFill xmlns:a14="http://schemas.microsoft.com/office/drawing/2010/main">
                <a:solidFill>
                  <a:srgbClr val="FFFFFF"/>
                </a:solidFill>
              </a14:hiddenFill>
            </a:ext>
          </a:extLst>
        </p:spPr>
      </p:pic>
      <p:sp>
        <p:nvSpPr>
          <p:cNvPr id="40" name="Textfeld 35"/>
          <p:cNvSpPr txBox="1">
            <a:spLocks noChangeArrowheads="1"/>
          </p:cNvSpPr>
          <p:nvPr/>
        </p:nvSpPr>
        <p:spPr bwMode="auto">
          <a:xfrm>
            <a:off x="6145904" y="4342661"/>
            <a:ext cx="2998096" cy="17235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a:spAutoFit/>
          </a:bodyPr>
          <a:lstStyle>
            <a:lvl1pPr>
              <a:defRPr sz="2600">
                <a:solidFill>
                  <a:srgbClr val="595959"/>
                </a:solidFill>
                <a:latin typeface="Trebuchet MS" charset="0"/>
                <a:ea typeface="MS PGothic" charset="0"/>
                <a:cs typeface="MS PGothic" charset="0"/>
              </a:defRPr>
            </a:lvl1pPr>
            <a:lvl2pPr>
              <a:defRPr sz="2400">
                <a:solidFill>
                  <a:srgbClr val="595959"/>
                </a:solidFill>
                <a:latin typeface="Trebuchet MS" charset="0"/>
                <a:ea typeface="MS PGothic" charset="0"/>
                <a:cs typeface="MS PGothic" charset="0"/>
              </a:defRPr>
            </a:lvl2pPr>
            <a:lvl3pPr>
              <a:defRPr sz="2400">
                <a:solidFill>
                  <a:srgbClr val="595959"/>
                </a:solidFill>
                <a:latin typeface="Trebuchet MS" charset="0"/>
                <a:ea typeface="MS PGothic" charset="0"/>
                <a:cs typeface="MS PGothic" charset="0"/>
              </a:defRPr>
            </a:lvl3pPr>
            <a:lvl4pPr>
              <a:defRPr sz="2400">
                <a:solidFill>
                  <a:srgbClr val="595959"/>
                </a:solidFill>
                <a:latin typeface="Trebuchet MS" charset="0"/>
                <a:ea typeface="MS PGothic" charset="0"/>
                <a:cs typeface="MS PGothic" charset="0"/>
              </a:defRPr>
            </a:lvl4pPr>
            <a:lvl5pPr>
              <a:defRPr sz="2400">
                <a:solidFill>
                  <a:srgbClr val="595959"/>
                </a:solidFill>
                <a:latin typeface="Trebuchet MS" charset="0"/>
                <a:ea typeface="MS PGothic" charset="0"/>
                <a:cs typeface="MS PGothic" charset="0"/>
              </a:defRPr>
            </a:lvl5pPr>
            <a:lvl6pPr marL="2514600" indent="-228600" algn="l" rtl="0" eaLnBrk="0" hangingPunct="0">
              <a:defRPr sz="2400">
                <a:solidFill>
                  <a:srgbClr val="595959"/>
                </a:solidFill>
                <a:latin typeface="Trebuchet MS" charset="0"/>
                <a:ea typeface="MS PGothic" charset="0"/>
                <a:cs typeface="MS PGothic" charset="0"/>
              </a:defRPr>
            </a:lvl6pPr>
            <a:lvl7pPr marL="2971800" indent="-228600" algn="l" rtl="0" eaLnBrk="0" hangingPunct="0">
              <a:defRPr sz="2400">
                <a:solidFill>
                  <a:srgbClr val="595959"/>
                </a:solidFill>
                <a:latin typeface="Trebuchet MS" charset="0"/>
                <a:ea typeface="MS PGothic" charset="0"/>
                <a:cs typeface="MS PGothic" charset="0"/>
              </a:defRPr>
            </a:lvl7pPr>
            <a:lvl8pPr marL="3429000" indent="-228600" algn="l" rtl="0" eaLnBrk="0" hangingPunct="0">
              <a:defRPr sz="2400">
                <a:solidFill>
                  <a:srgbClr val="595959"/>
                </a:solidFill>
                <a:latin typeface="Trebuchet MS" charset="0"/>
                <a:ea typeface="MS PGothic" charset="0"/>
                <a:cs typeface="MS PGothic" charset="0"/>
              </a:defRPr>
            </a:lvl8pPr>
            <a:lvl9pPr marL="3886200" indent="-228600" algn="l" rtl="0" eaLnBrk="0" hangingPunct="0">
              <a:defRPr sz="2400">
                <a:solidFill>
                  <a:srgbClr val="595959"/>
                </a:solidFill>
                <a:latin typeface="Trebuchet MS" charset="0"/>
                <a:ea typeface="MS PGothic" charset="0"/>
                <a:cs typeface="MS PGothic" charset="0"/>
              </a:defRPr>
            </a:lvl9pPr>
          </a:lstStyle>
          <a:p>
            <a:pPr>
              <a:buClr>
                <a:srgbClr val="FF9900"/>
              </a:buClr>
            </a:pPr>
            <a:r>
              <a:rPr lang="en-US" sz="1200" b="1" dirty="0">
                <a:solidFill>
                  <a:schemeClr val="tx1"/>
                </a:solidFill>
                <a:latin typeface="Arial" charset="0"/>
              </a:rPr>
              <a:t>RUP500 / RVP510</a:t>
            </a:r>
          </a:p>
          <a:p>
            <a:pPr>
              <a:buClr>
                <a:srgbClr val="FF9900"/>
              </a:buClr>
            </a:pPr>
            <a:r>
              <a:rPr lang="en-US" sz="1200" b="1" dirty="0">
                <a:solidFill>
                  <a:schemeClr val="tx1"/>
                </a:solidFill>
                <a:latin typeface="Arial" charset="0"/>
              </a:rPr>
              <a:t>Solid shaft with display</a:t>
            </a:r>
          </a:p>
          <a:p>
            <a:pPr marL="285750" indent="-285750">
              <a:buClr>
                <a:srgbClr val="FF9900"/>
              </a:buClr>
              <a:buFont typeface="Arial" panose="020B0604020202020204" pitchFamily="34" charset="0"/>
              <a:buChar char="•"/>
            </a:pPr>
            <a:r>
              <a:rPr lang="en-US" sz="1200" dirty="0">
                <a:solidFill>
                  <a:schemeClr val="tx1"/>
                </a:solidFill>
                <a:latin typeface="Arial" charset="0"/>
              </a:rPr>
              <a:t>Resolution freely programmable between 2…10,000 pulses</a:t>
            </a:r>
          </a:p>
          <a:p>
            <a:pPr marL="285750" indent="-285750">
              <a:buClr>
                <a:srgbClr val="FF9900"/>
              </a:buClr>
              <a:buFont typeface="Arial" panose="020B0604020202020204" pitchFamily="34" charset="0"/>
              <a:buChar char="•"/>
            </a:pPr>
            <a:r>
              <a:rPr lang="en-US" sz="1200" dirty="0">
                <a:solidFill>
                  <a:schemeClr val="tx1"/>
                </a:solidFill>
                <a:latin typeface="Arial" charset="0"/>
              </a:rPr>
              <a:t>Parameter settings and diagnostic data are transmitted via IO-Link</a:t>
            </a:r>
          </a:p>
          <a:p>
            <a:pPr>
              <a:buClr>
                <a:srgbClr val="FF9900"/>
              </a:buClr>
            </a:pPr>
            <a:endParaRPr lang="en-US" sz="1600" dirty="0">
              <a:solidFill>
                <a:schemeClr val="tx1"/>
              </a:solidFill>
              <a:latin typeface="Arial" charset="0"/>
            </a:endParaRPr>
          </a:p>
          <a:p>
            <a:pPr>
              <a:buClr>
                <a:srgbClr val="FF9900"/>
              </a:buClr>
            </a:pPr>
            <a:endParaRPr lang="en-US" sz="1800" dirty="0">
              <a:solidFill>
                <a:schemeClr val="tx1"/>
              </a:solidFill>
              <a:latin typeface="Arial" charset="0"/>
            </a:endParaRPr>
          </a:p>
        </p:txBody>
      </p:sp>
    </p:spTree>
    <p:extLst>
      <p:ext uri="{BB962C8B-B14F-4D97-AF65-F5344CB8AC3E}">
        <p14:creationId xmlns:p14="http://schemas.microsoft.com/office/powerpoint/2010/main" val="419107962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de-DE" smtClean="0"/>
              <a:t>pw 12.2015</a:t>
            </a:r>
            <a:endParaRPr lang="de-DE"/>
          </a:p>
        </p:txBody>
      </p:sp>
      <p:sp>
        <p:nvSpPr>
          <p:cNvPr id="5" name="Slide Number Placeholder 4"/>
          <p:cNvSpPr>
            <a:spLocks noGrp="1"/>
          </p:cNvSpPr>
          <p:nvPr>
            <p:ph type="sldNum" sz="quarter" idx="12"/>
          </p:nvPr>
        </p:nvSpPr>
        <p:spPr/>
        <p:txBody>
          <a:bodyPr/>
          <a:lstStyle/>
          <a:p>
            <a:fld id="{09AD34A2-EE0D-B74D-A5FF-4EBBE21DF867}" type="slidenum">
              <a:rPr lang="de-DE" smtClean="0"/>
              <a:t>17</a:t>
            </a:fld>
            <a:endParaRPr lang="de-DE"/>
          </a:p>
        </p:txBody>
      </p:sp>
      <p:sp>
        <p:nvSpPr>
          <p:cNvPr id="8" name="Title 1"/>
          <p:cNvSpPr txBox="1">
            <a:spLocks/>
          </p:cNvSpPr>
          <p:nvPr/>
        </p:nvSpPr>
        <p:spPr>
          <a:xfrm>
            <a:off x="924407" y="1419562"/>
            <a:ext cx="7305675" cy="395287"/>
          </a:xfrm>
          <a:prstGeom prst="rect">
            <a:avLst/>
          </a:prstGeom>
        </p:spPr>
        <p:txBody>
          <a:bodyPr vert="horz" lIns="91440" tIns="45720" rIns="91440" bIns="45720" rtlCol="0" anchor="ctr">
            <a:normAutofit fontScale="55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IN" dirty="0"/>
              <a:t>Basic Machine Tool Monitoring </a:t>
            </a:r>
          </a:p>
        </p:txBody>
      </p:sp>
      <p:grpSp>
        <p:nvGrpSpPr>
          <p:cNvPr id="12" name="Group 11"/>
          <p:cNvGrpSpPr/>
          <p:nvPr/>
        </p:nvGrpSpPr>
        <p:grpSpPr>
          <a:xfrm>
            <a:off x="2730983" y="2984981"/>
            <a:ext cx="2134497" cy="781664"/>
            <a:chOff x="1582738" y="2802194"/>
            <a:chExt cx="2134497" cy="781664"/>
          </a:xfrm>
          <a:solidFill>
            <a:srgbClr val="92D050"/>
          </a:solidFill>
        </p:grpSpPr>
        <p:sp>
          <p:nvSpPr>
            <p:cNvPr id="13" name="Rectangle 12"/>
            <p:cNvSpPr/>
            <p:nvPr/>
          </p:nvSpPr>
          <p:spPr bwMode="auto">
            <a:xfrm>
              <a:off x="1769807" y="2802194"/>
              <a:ext cx="1445342" cy="781664"/>
            </a:xfrm>
            <a:prstGeom prst="rect">
              <a:avLst/>
            </a:prstGeom>
            <a:grp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en-IN" sz="1200" dirty="0">
                  <a:solidFill>
                    <a:srgbClr val="000000"/>
                  </a:solidFill>
                  <a:latin typeface="Arial" charset="0"/>
                  <a:ea typeface="ＭＳ Ｐゴシック" charset="0"/>
                </a:rPr>
                <a:t>Machine Spindle</a:t>
              </a:r>
            </a:p>
          </p:txBody>
        </p:sp>
        <p:sp>
          <p:nvSpPr>
            <p:cNvPr id="14" name="Rectangle 13"/>
            <p:cNvSpPr/>
            <p:nvPr/>
          </p:nvSpPr>
          <p:spPr bwMode="auto">
            <a:xfrm>
              <a:off x="3215149" y="2932043"/>
              <a:ext cx="124399" cy="556592"/>
            </a:xfrm>
            <a:prstGeom prst="rect">
              <a:avLst/>
            </a:prstGeom>
            <a:grp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IN" sz="2400">
                <a:solidFill>
                  <a:srgbClr val="000000"/>
                </a:solidFill>
                <a:latin typeface="Arial" charset="0"/>
                <a:ea typeface="ＭＳ Ｐゴシック" charset="0"/>
              </a:endParaRPr>
            </a:p>
          </p:txBody>
        </p:sp>
        <p:cxnSp>
          <p:nvCxnSpPr>
            <p:cNvPr id="15" name="Straight Connector 14"/>
            <p:cNvCxnSpPr/>
            <p:nvPr/>
          </p:nvCxnSpPr>
          <p:spPr bwMode="auto">
            <a:xfrm>
              <a:off x="1582738" y="3212904"/>
              <a:ext cx="2134497" cy="0"/>
            </a:xfrm>
            <a:prstGeom prst="line">
              <a:avLst/>
            </a:prstGeom>
            <a:grp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6" name="Rectangle 15"/>
          <p:cNvSpPr/>
          <p:nvPr/>
        </p:nvSpPr>
        <p:spPr bwMode="auto">
          <a:xfrm>
            <a:off x="2895930" y="4795153"/>
            <a:ext cx="1361019" cy="1043609"/>
          </a:xfrm>
          <a:prstGeom prst="rect">
            <a:avLst/>
          </a:prstGeom>
          <a:solidFill>
            <a:srgbClr val="92D05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en-IN" sz="1200" dirty="0">
                <a:solidFill>
                  <a:srgbClr val="000000"/>
                </a:solidFill>
                <a:latin typeface="Arial" charset="0"/>
                <a:ea typeface="ＭＳ Ｐゴシック" charset="0"/>
              </a:rPr>
              <a:t>Hydraulic Power pack</a:t>
            </a:r>
          </a:p>
        </p:txBody>
      </p:sp>
      <p:sp>
        <p:nvSpPr>
          <p:cNvPr id="17" name="Rectangle 16"/>
          <p:cNvSpPr/>
          <p:nvPr/>
        </p:nvSpPr>
        <p:spPr bwMode="auto">
          <a:xfrm>
            <a:off x="3235461" y="2389275"/>
            <a:ext cx="238540" cy="595707"/>
          </a:xfrm>
          <a:prstGeom prst="rect">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IN" sz="2400">
              <a:solidFill>
                <a:srgbClr val="000000"/>
              </a:solidFill>
              <a:latin typeface="Arial" charset="0"/>
              <a:ea typeface="ＭＳ Ｐゴシック" charset="0"/>
            </a:endParaRPr>
          </a:p>
        </p:txBody>
      </p:sp>
      <p:sp>
        <p:nvSpPr>
          <p:cNvPr id="18" name="Rectangle 17"/>
          <p:cNvSpPr/>
          <p:nvPr/>
        </p:nvSpPr>
        <p:spPr bwMode="auto">
          <a:xfrm>
            <a:off x="3909079" y="2755418"/>
            <a:ext cx="695739" cy="218982"/>
          </a:xfrm>
          <a:prstGeom prst="rect">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IN" sz="2400" dirty="0">
              <a:solidFill>
                <a:srgbClr val="000000"/>
              </a:solidFill>
              <a:latin typeface="Arial" charset="0"/>
              <a:ea typeface="ＭＳ Ｐゴシック" charset="0"/>
            </a:endParaRPr>
          </a:p>
        </p:txBody>
      </p:sp>
      <p:sp>
        <p:nvSpPr>
          <p:cNvPr id="19" name="Rectangle 18"/>
          <p:cNvSpPr/>
          <p:nvPr/>
        </p:nvSpPr>
        <p:spPr bwMode="auto">
          <a:xfrm>
            <a:off x="3798230" y="4367162"/>
            <a:ext cx="232362" cy="427991"/>
          </a:xfrm>
          <a:prstGeom prst="rect">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IN" sz="2400">
              <a:solidFill>
                <a:srgbClr val="000000"/>
              </a:solidFill>
              <a:latin typeface="Arial" charset="0"/>
              <a:ea typeface="ＭＳ Ｐゴシック" charset="0"/>
            </a:endParaRPr>
          </a:p>
        </p:txBody>
      </p:sp>
      <p:sp>
        <p:nvSpPr>
          <p:cNvPr id="20" name="Rectangle 19"/>
          <p:cNvSpPr/>
          <p:nvPr/>
        </p:nvSpPr>
        <p:spPr bwMode="auto">
          <a:xfrm>
            <a:off x="8920642" y="1322192"/>
            <a:ext cx="1441871" cy="1615910"/>
          </a:xfrm>
          <a:prstGeom prst="rect">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en-IN" sz="1000" dirty="0">
                <a:solidFill>
                  <a:srgbClr val="000000"/>
                </a:solidFill>
                <a:latin typeface="Arial" charset="0"/>
                <a:ea typeface="ＭＳ Ｐゴシック" charset="0"/>
              </a:rPr>
              <a:t>PC</a:t>
            </a:r>
          </a:p>
          <a:p>
            <a:pPr defTabSz="914400" eaLnBrk="0" fontAlgn="base" hangingPunct="0">
              <a:spcBef>
                <a:spcPct val="0"/>
              </a:spcBef>
              <a:spcAft>
                <a:spcPct val="0"/>
              </a:spcAft>
            </a:pPr>
            <a:r>
              <a:rPr lang="en-IN" sz="1000" dirty="0">
                <a:solidFill>
                  <a:srgbClr val="000000"/>
                </a:solidFill>
                <a:latin typeface="Arial" charset="0"/>
                <a:ea typeface="ＭＳ Ｐゴシック" charset="0"/>
              </a:rPr>
              <a:t>8 GB RAM</a:t>
            </a:r>
          </a:p>
          <a:p>
            <a:pPr defTabSz="914400" eaLnBrk="0" fontAlgn="base" hangingPunct="0">
              <a:spcBef>
                <a:spcPct val="0"/>
              </a:spcBef>
              <a:spcAft>
                <a:spcPct val="0"/>
              </a:spcAft>
            </a:pPr>
            <a:r>
              <a:rPr lang="en-IN" sz="1000" dirty="0">
                <a:solidFill>
                  <a:srgbClr val="000000"/>
                </a:solidFill>
                <a:latin typeface="Arial" charset="0"/>
                <a:ea typeface="ＭＳ Ｐゴシック" charset="0"/>
              </a:rPr>
              <a:t>10 GB SSD space</a:t>
            </a:r>
          </a:p>
          <a:p>
            <a:pPr defTabSz="914400" eaLnBrk="0" fontAlgn="base" hangingPunct="0">
              <a:spcBef>
                <a:spcPct val="0"/>
              </a:spcBef>
              <a:spcAft>
                <a:spcPct val="0"/>
              </a:spcAft>
            </a:pPr>
            <a:r>
              <a:rPr lang="en-IN" sz="1000" dirty="0">
                <a:solidFill>
                  <a:srgbClr val="000000"/>
                </a:solidFill>
                <a:latin typeface="Arial" charset="0"/>
                <a:ea typeface="ＭＳ Ｐゴシック" charset="0"/>
              </a:rPr>
              <a:t>Quad Core </a:t>
            </a:r>
          </a:p>
          <a:p>
            <a:pPr defTabSz="914400" eaLnBrk="0" fontAlgn="base" hangingPunct="0">
              <a:spcBef>
                <a:spcPct val="0"/>
              </a:spcBef>
              <a:spcAft>
                <a:spcPct val="0"/>
              </a:spcAft>
            </a:pPr>
            <a:r>
              <a:rPr lang="en-IN" sz="1000" dirty="0">
                <a:solidFill>
                  <a:srgbClr val="000000"/>
                </a:solidFill>
                <a:latin typeface="Arial" charset="0"/>
                <a:ea typeface="ＭＳ Ｐゴシック" charset="0"/>
              </a:rPr>
              <a:t>2.5 G Hz</a:t>
            </a:r>
          </a:p>
          <a:p>
            <a:pPr defTabSz="914400" eaLnBrk="0" fontAlgn="base" hangingPunct="0">
              <a:spcBef>
                <a:spcPct val="0"/>
              </a:spcBef>
              <a:spcAft>
                <a:spcPct val="0"/>
              </a:spcAft>
            </a:pPr>
            <a:endParaRPr lang="en-IN" sz="1000" dirty="0">
              <a:solidFill>
                <a:srgbClr val="000000"/>
              </a:solidFill>
              <a:latin typeface="Arial" charset="0"/>
              <a:ea typeface="ＭＳ Ｐゴシック" charset="0"/>
            </a:endParaRPr>
          </a:p>
          <a:p>
            <a:pPr defTabSz="914400" eaLnBrk="0" fontAlgn="base" hangingPunct="0">
              <a:spcBef>
                <a:spcPct val="0"/>
              </a:spcBef>
              <a:spcAft>
                <a:spcPct val="0"/>
              </a:spcAft>
            </a:pPr>
            <a:r>
              <a:rPr lang="en-IN" sz="1000" b="1" dirty="0" smtClean="0">
                <a:solidFill>
                  <a:srgbClr val="000000"/>
                </a:solidFill>
                <a:latin typeface="Arial" charset="0"/>
                <a:ea typeface="ＭＳ Ｐゴシック" charset="0"/>
              </a:rPr>
              <a:t>QA0011 LR Device</a:t>
            </a:r>
            <a:r>
              <a:rPr lang="en-IN" sz="1000" b="1" smtClean="0">
                <a:solidFill>
                  <a:srgbClr val="000000"/>
                </a:solidFill>
                <a:latin typeface="Arial" charset="0"/>
                <a:ea typeface="ＭＳ Ｐゴシック" charset="0"/>
              </a:rPr>
              <a:t/>
            </a:r>
            <a:br>
              <a:rPr lang="en-IN" sz="1000" b="1" smtClean="0">
                <a:solidFill>
                  <a:srgbClr val="000000"/>
                </a:solidFill>
                <a:latin typeface="Arial" charset="0"/>
                <a:ea typeface="ＭＳ Ｐゴシック" charset="0"/>
              </a:rPr>
            </a:br>
            <a:r>
              <a:rPr lang="en-IN" sz="1000" b="1" smtClean="0">
                <a:solidFill>
                  <a:srgbClr val="000000"/>
                </a:solidFill>
                <a:latin typeface="Arial" charset="0"/>
                <a:ea typeface="ＭＳ Ｐゴシック" charset="0"/>
              </a:rPr>
              <a:t>or</a:t>
            </a:r>
            <a:br>
              <a:rPr lang="en-IN" sz="1000" b="1" smtClean="0">
                <a:solidFill>
                  <a:srgbClr val="000000"/>
                </a:solidFill>
                <a:latin typeface="Arial" charset="0"/>
                <a:ea typeface="ＭＳ Ｐゴシック" charset="0"/>
              </a:rPr>
            </a:br>
            <a:r>
              <a:rPr lang="en-IN" sz="1000" b="1" smtClean="0">
                <a:solidFill>
                  <a:srgbClr val="000000"/>
                </a:solidFill>
                <a:latin typeface="Arial" charset="0"/>
                <a:ea typeface="ＭＳ Ｐゴシック" charset="0"/>
              </a:rPr>
              <a:t>QLS015 SMOB CE</a:t>
            </a:r>
            <a:endParaRPr lang="en-IN" sz="1000" b="1" dirty="0">
              <a:solidFill>
                <a:srgbClr val="000000"/>
              </a:solidFill>
              <a:latin typeface="Arial" charset="0"/>
              <a:ea typeface="ＭＳ Ｐゴシック" charset="0"/>
            </a:endParaRPr>
          </a:p>
        </p:txBody>
      </p:sp>
      <p:sp>
        <p:nvSpPr>
          <p:cNvPr id="21" name="Rectangle 20"/>
          <p:cNvSpPr/>
          <p:nvPr/>
        </p:nvSpPr>
        <p:spPr bwMode="auto">
          <a:xfrm>
            <a:off x="8930583" y="3929433"/>
            <a:ext cx="1106074" cy="651317"/>
          </a:xfrm>
          <a:prstGeom prst="rect">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en-IN" sz="1000" dirty="0">
                <a:solidFill>
                  <a:srgbClr val="000000"/>
                </a:solidFill>
                <a:latin typeface="Arial" charset="0"/>
                <a:ea typeface="ＭＳ Ｐゴシック" charset="0"/>
              </a:rPr>
              <a:t>AY1000</a:t>
            </a:r>
            <a:br>
              <a:rPr lang="en-IN" sz="1000" dirty="0">
                <a:solidFill>
                  <a:srgbClr val="000000"/>
                </a:solidFill>
                <a:latin typeface="Arial" charset="0"/>
                <a:ea typeface="ＭＳ Ｐゴシック" charset="0"/>
              </a:rPr>
            </a:br>
            <a:r>
              <a:rPr lang="en-IN" sz="1000" dirty="0">
                <a:solidFill>
                  <a:srgbClr val="000000"/>
                </a:solidFill>
                <a:latin typeface="Arial" charset="0"/>
                <a:ea typeface="ＭＳ Ｐゴシック" charset="0"/>
              </a:rPr>
              <a:t>Profinet</a:t>
            </a:r>
          </a:p>
        </p:txBody>
      </p:sp>
      <p:sp>
        <p:nvSpPr>
          <p:cNvPr id="22" name="Rectangle 21"/>
          <p:cNvSpPr/>
          <p:nvPr/>
        </p:nvSpPr>
        <p:spPr bwMode="auto">
          <a:xfrm>
            <a:off x="8930583" y="4795153"/>
            <a:ext cx="1125124" cy="625557"/>
          </a:xfrm>
          <a:prstGeom prst="rect">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en-IN" sz="1000" dirty="0">
                <a:solidFill>
                  <a:srgbClr val="000000"/>
                </a:solidFill>
                <a:latin typeface="Arial" charset="0"/>
                <a:ea typeface="ＭＳ Ｐゴシック" charset="0"/>
              </a:rPr>
              <a:t>DN4011</a:t>
            </a:r>
          </a:p>
        </p:txBody>
      </p:sp>
      <p:sp>
        <p:nvSpPr>
          <p:cNvPr id="23" name="Rounded Rectangle 22"/>
          <p:cNvSpPr/>
          <p:nvPr/>
        </p:nvSpPr>
        <p:spPr bwMode="auto">
          <a:xfrm>
            <a:off x="5799757" y="2081161"/>
            <a:ext cx="1053548" cy="387626"/>
          </a:xfrm>
          <a:prstGeom prst="roundRect">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en-IN" sz="1000" dirty="0">
                <a:solidFill>
                  <a:srgbClr val="000000"/>
                </a:solidFill>
                <a:latin typeface="Arial" charset="0"/>
                <a:ea typeface="ＭＳ Ｐゴシック" charset="0"/>
              </a:rPr>
              <a:t>DP2200</a:t>
            </a:r>
          </a:p>
        </p:txBody>
      </p:sp>
      <p:sp>
        <p:nvSpPr>
          <p:cNvPr id="24" name="Rounded Rectangle 23"/>
          <p:cNvSpPr/>
          <p:nvPr/>
        </p:nvSpPr>
        <p:spPr bwMode="auto">
          <a:xfrm>
            <a:off x="5824122" y="2766639"/>
            <a:ext cx="1053548" cy="387626"/>
          </a:xfrm>
          <a:prstGeom prst="roundRect">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en-IN" sz="1000" dirty="0">
                <a:solidFill>
                  <a:srgbClr val="000000"/>
                </a:solidFill>
                <a:latin typeface="Arial" charset="0"/>
                <a:ea typeface="ＭＳ Ｐゴシック" charset="0"/>
              </a:rPr>
              <a:t>TP3237</a:t>
            </a:r>
          </a:p>
        </p:txBody>
      </p:sp>
      <p:sp>
        <p:nvSpPr>
          <p:cNvPr id="25" name="Rounded Rectangle 24"/>
          <p:cNvSpPr/>
          <p:nvPr/>
        </p:nvSpPr>
        <p:spPr bwMode="auto">
          <a:xfrm>
            <a:off x="6853305" y="5451135"/>
            <a:ext cx="1053548" cy="387626"/>
          </a:xfrm>
          <a:prstGeom prst="roundRect">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r>
              <a:rPr lang="en-IN" sz="1000" dirty="0">
                <a:solidFill>
                  <a:srgbClr val="000000"/>
                </a:solidFill>
                <a:latin typeface="Arial" charset="0"/>
                <a:ea typeface="ＭＳ Ｐゴシック" charset="0"/>
              </a:rPr>
              <a:t>DP2200</a:t>
            </a:r>
          </a:p>
        </p:txBody>
      </p:sp>
      <p:cxnSp>
        <p:nvCxnSpPr>
          <p:cNvPr id="26" name="Straight Connector 25"/>
          <p:cNvCxnSpPr>
            <a:stCxn id="17" idx="0"/>
          </p:cNvCxnSpPr>
          <p:nvPr/>
        </p:nvCxnSpPr>
        <p:spPr bwMode="auto">
          <a:xfrm flipV="1">
            <a:off x="3354731" y="2150736"/>
            <a:ext cx="0" cy="238539"/>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7" name="Straight Connector 26"/>
          <p:cNvCxnSpPr/>
          <p:nvPr/>
        </p:nvCxnSpPr>
        <p:spPr bwMode="auto">
          <a:xfrm>
            <a:off x="3354731" y="2150735"/>
            <a:ext cx="2445026"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8" name="Straight Connector 27"/>
          <p:cNvCxnSpPr>
            <a:stCxn id="18" idx="3"/>
          </p:cNvCxnSpPr>
          <p:nvPr/>
        </p:nvCxnSpPr>
        <p:spPr bwMode="auto">
          <a:xfrm>
            <a:off x="4604817" y="2864909"/>
            <a:ext cx="119494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9" name="Straight Connector 28"/>
          <p:cNvCxnSpPr>
            <a:stCxn id="19" idx="3"/>
          </p:cNvCxnSpPr>
          <p:nvPr/>
        </p:nvCxnSpPr>
        <p:spPr bwMode="auto">
          <a:xfrm flipV="1">
            <a:off x="4030593" y="4581157"/>
            <a:ext cx="3717235" cy="1"/>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0" name="Straight Connector 29"/>
          <p:cNvCxnSpPr/>
          <p:nvPr/>
        </p:nvCxnSpPr>
        <p:spPr bwMode="auto">
          <a:xfrm flipV="1">
            <a:off x="7737887" y="4367162"/>
            <a:ext cx="0" cy="213589"/>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1" name="Straight Connector 30"/>
          <p:cNvCxnSpPr/>
          <p:nvPr/>
        </p:nvCxnSpPr>
        <p:spPr bwMode="auto">
          <a:xfrm>
            <a:off x="7737887" y="4367161"/>
            <a:ext cx="1182756"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2" name="Rectangle 31"/>
          <p:cNvSpPr/>
          <p:nvPr/>
        </p:nvSpPr>
        <p:spPr bwMode="auto">
          <a:xfrm>
            <a:off x="6127749" y="5549918"/>
            <a:ext cx="725557" cy="218661"/>
          </a:xfrm>
          <a:prstGeom prst="rect">
            <a:avLst/>
          </a:prstGeom>
          <a:solidFill>
            <a:srgbClr val="FFC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IN" sz="2400">
              <a:solidFill>
                <a:srgbClr val="000000"/>
              </a:solidFill>
              <a:latin typeface="Arial" charset="0"/>
              <a:ea typeface="ＭＳ Ｐゴシック" charset="0"/>
            </a:endParaRPr>
          </a:p>
        </p:txBody>
      </p:sp>
      <p:cxnSp>
        <p:nvCxnSpPr>
          <p:cNvPr id="33" name="Straight Connector 32"/>
          <p:cNvCxnSpPr>
            <a:stCxn id="25" idx="3"/>
          </p:cNvCxnSpPr>
          <p:nvPr/>
        </p:nvCxnSpPr>
        <p:spPr bwMode="auto">
          <a:xfrm>
            <a:off x="7906854" y="5644948"/>
            <a:ext cx="221629"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4" name="Straight Connector 33"/>
          <p:cNvCxnSpPr/>
          <p:nvPr/>
        </p:nvCxnSpPr>
        <p:spPr bwMode="auto">
          <a:xfrm flipH="1" flipV="1">
            <a:off x="8128482" y="4510669"/>
            <a:ext cx="2968" cy="1148578"/>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5" name="Straight Connector 34"/>
          <p:cNvCxnSpPr/>
          <p:nvPr/>
        </p:nvCxnSpPr>
        <p:spPr bwMode="auto">
          <a:xfrm>
            <a:off x="8128483" y="4510669"/>
            <a:ext cx="802101"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6" name="Straight Connector 35"/>
          <p:cNvCxnSpPr>
            <a:stCxn id="23" idx="3"/>
          </p:cNvCxnSpPr>
          <p:nvPr/>
        </p:nvCxnSpPr>
        <p:spPr bwMode="auto">
          <a:xfrm>
            <a:off x="6853305" y="2274974"/>
            <a:ext cx="755374" cy="48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7" name="Straight Connector 36"/>
          <p:cNvCxnSpPr>
            <a:stCxn id="24" idx="3"/>
          </p:cNvCxnSpPr>
          <p:nvPr/>
        </p:nvCxnSpPr>
        <p:spPr bwMode="auto">
          <a:xfrm>
            <a:off x="6877671" y="2960452"/>
            <a:ext cx="611739" cy="1098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8" name="Straight Connector 37"/>
          <p:cNvCxnSpPr/>
          <p:nvPr/>
        </p:nvCxnSpPr>
        <p:spPr bwMode="auto">
          <a:xfrm>
            <a:off x="7489409" y="2974400"/>
            <a:ext cx="0" cy="128069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9" name="Straight Connector 38"/>
          <p:cNvCxnSpPr>
            <a:endCxn id="21" idx="1"/>
          </p:cNvCxnSpPr>
          <p:nvPr/>
        </p:nvCxnSpPr>
        <p:spPr bwMode="auto">
          <a:xfrm>
            <a:off x="7489409" y="4255091"/>
            <a:ext cx="1441174" cy="1"/>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0" name="Straight Connector 39"/>
          <p:cNvCxnSpPr/>
          <p:nvPr/>
        </p:nvCxnSpPr>
        <p:spPr bwMode="auto">
          <a:xfrm>
            <a:off x="7608679" y="2270005"/>
            <a:ext cx="0" cy="1818861"/>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1" name="Straight Connector 40"/>
          <p:cNvCxnSpPr/>
          <p:nvPr/>
        </p:nvCxnSpPr>
        <p:spPr bwMode="auto">
          <a:xfrm>
            <a:off x="7608679" y="4078926"/>
            <a:ext cx="1311964"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2" name="TextBox 41"/>
          <p:cNvSpPr txBox="1"/>
          <p:nvPr/>
        </p:nvSpPr>
        <p:spPr>
          <a:xfrm>
            <a:off x="3400116" y="2367159"/>
            <a:ext cx="588623" cy="246221"/>
          </a:xfrm>
          <a:prstGeom prst="rect">
            <a:avLst/>
          </a:prstGeom>
          <a:noFill/>
        </p:spPr>
        <p:txBody>
          <a:bodyPr wrap="none" rtlCol="0">
            <a:spAutoFit/>
          </a:bodyPr>
          <a:lstStyle/>
          <a:p>
            <a:r>
              <a:rPr lang="en-IN" sz="1000" dirty="0"/>
              <a:t>VTV122</a:t>
            </a:r>
          </a:p>
        </p:txBody>
      </p:sp>
      <p:sp>
        <p:nvSpPr>
          <p:cNvPr id="43" name="TextBox 42"/>
          <p:cNvSpPr txBox="1"/>
          <p:nvPr/>
        </p:nvSpPr>
        <p:spPr>
          <a:xfrm>
            <a:off x="4060411" y="2553746"/>
            <a:ext cx="569387" cy="246221"/>
          </a:xfrm>
          <a:prstGeom prst="rect">
            <a:avLst/>
          </a:prstGeom>
          <a:noFill/>
        </p:spPr>
        <p:txBody>
          <a:bodyPr wrap="none" rtlCol="0">
            <a:spAutoFit/>
          </a:bodyPr>
          <a:lstStyle/>
          <a:p>
            <a:r>
              <a:rPr lang="en-IN" sz="1000" dirty="0"/>
              <a:t>TS5289</a:t>
            </a:r>
          </a:p>
        </p:txBody>
      </p:sp>
      <p:sp>
        <p:nvSpPr>
          <p:cNvPr id="44" name="TextBox 43"/>
          <p:cNvSpPr txBox="1"/>
          <p:nvPr/>
        </p:nvSpPr>
        <p:spPr>
          <a:xfrm>
            <a:off x="4030593" y="1961894"/>
            <a:ext cx="585417" cy="246221"/>
          </a:xfrm>
          <a:prstGeom prst="rect">
            <a:avLst/>
          </a:prstGeom>
          <a:noFill/>
        </p:spPr>
        <p:txBody>
          <a:bodyPr wrap="none" rtlCol="0">
            <a:spAutoFit/>
          </a:bodyPr>
          <a:lstStyle/>
          <a:p>
            <a:r>
              <a:rPr lang="en-IN" sz="1000" dirty="0"/>
              <a:t>EVC014</a:t>
            </a:r>
          </a:p>
        </p:txBody>
      </p:sp>
      <p:sp>
        <p:nvSpPr>
          <p:cNvPr id="45" name="TextBox 44"/>
          <p:cNvSpPr txBox="1"/>
          <p:nvPr/>
        </p:nvSpPr>
        <p:spPr>
          <a:xfrm>
            <a:off x="7062028" y="2071224"/>
            <a:ext cx="585417" cy="246221"/>
          </a:xfrm>
          <a:prstGeom prst="rect">
            <a:avLst/>
          </a:prstGeom>
          <a:noFill/>
        </p:spPr>
        <p:txBody>
          <a:bodyPr wrap="none" rtlCol="0">
            <a:spAutoFit/>
          </a:bodyPr>
          <a:lstStyle/>
          <a:p>
            <a:r>
              <a:rPr lang="en-IN" sz="1000" dirty="0"/>
              <a:t>EVC126</a:t>
            </a:r>
          </a:p>
        </p:txBody>
      </p:sp>
      <p:sp>
        <p:nvSpPr>
          <p:cNvPr id="46" name="TextBox 45"/>
          <p:cNvSpPr txBox="1"/>
          <p:nvPr/>
        </p:nvSpPr>
        <p:spPr>
          <a:xfrm>
            <a:off x="6851721" y="2947967"/>
            <a:ext cx="585417" cy="246221"/>
          </a:xfrm>
          <a:prstGeom prst="rect">
            <a:avLst/>
          </a:prstGeom>
          <a:noFill/>
        </p:spPr>
        <p:txBody>
          <a:bodyPr wrap="none" rtlCol="0">
            <a:spAutoFit/>
          </a:bodyPr>
          <a:lstStyle/>
          <a:p>
            <a:r>
              <a:rPr lang="en-IN" sz="1000" dirty="0"/>
              <a:t>EVC126</a:t>
            </a:r>
          </a:p>
        </p:txBody>
      </p:sp>
      <p:sp>
        <p:nvSpPr>
          <p:cNvPr id="47" name="TextBox 46"/>
          <p:cNvSpPr txBox="1"/>
          <p:nvPr/>
        </p:nvSpPr>
        <p:spPr>
          <a:xfrm>
            <a:off x="5348910" y="4405872"/>
            <a:ext cx="585417" cy="246221"/>
          </a:xfrm>
          <a:prstGeom prst="rect">
            <a:avLst/>
          </a:prstGeom>
          <a:noFill/>
        </p:spPr>
        <p:txBody>
          <a:bodyPr wrap="none" rtlCol="0">
            <a:spAutoFit/>
          </a:bodyPr>
          <a:lstStyle/>
          <a:p>
            <a:r>
              <a:rPr lang="en-IN" sz="1000" dirty="0"/>
              <a:t>EVC126</a:t>
            </a:r>
          </a:p>
        </p:txBody>
      </p:sp>
      <p:sp>
        <p:nvSpPr>
          <p:cNvPr id="48" name="TextBox 47"/>
          <p:cNvSpPr txBox="1"/>
          <p:nvPr/>
        </p:nvSpPr>
        <p:spPr>
          <a:xfrm>
            <a:off x="7549044" y="4908818"/>
            <a:ext cx="585417" cy="246221"/>
          </a:xfrm>
          <a:prstGeom prst="rect">
            <a:avLst/>
          </a:prstGeom>
          <a:noFill/>
        </p:spPr>
        <p:txBody>
          <a:bodyPr wrap="none" rtlCol="0">
            <a:spAutoFit/>
          </a:bodyPr>
          <a:lstStyle/>
          <a:p>
            <a:r>
              <a:rPr lang="en-IN" sz="1000" dirty="0"/>
              <a:t>EVC126</a:t>
            </a:r>
          </a:p>
        </p:txBody>
      </p:sp>
      <p:sp>
        <p:nvSpPr>
          <p:cNvPr id="49" name="TextBox 48"/>
          <p:cNvSpPr txBox="1"/>
          <p:nvPr/>
        </p:nvSpPr>
        <p:spPr>
          <a:xfrm>
            <a:off x="3798230" y="4175579"/>
            <a:ext cx="596638" cy="246221"/>
          </a:xfrm>
          <a:prstGeom prst="rect">
            <a:avLst/>
          </a:prstGeom>
          <a:noFill/>
        </p:spPr>
        <p:txBody>
          <a:bodyPr wrap="none" rtlCol="0">
            <a:spAutoFit/>
          </a:bodyPr>
          <a:lstStyle/>
          <a:p>
            <a:r>
              <a:rPr lang="en-IN" sz="1000" dirty="0"/>
              <a:t>PN7571</a:t>
            </a:r>
          </a:p>
        </p:txBody>
      </p:sp>
      <p:sp>
        <p:nvSpPr>
          <p:cNvPr id="50" name="TextBox 49"/>
          <p:cNvSpPr txBox="1"/>
          <p:nvPr/>
        </p:nvSpPr>
        <p:spPr>
          <a:xfrm>
            <a:off x="6127749" y="5768582"/>
            <a:ext cx="575799" cy="246221"/>
          </a:xfrm>
          <a:prstGeom prst="rect">
            <a:avLst/>
          </a:prstGeom>
          <a:noFill/>
        </p:spPr>
        <p:txBody>
          <a:bodyPr wrap="none" rtlCol="0">
            <a:spAutoFit/>
          </a:bodyPr>
          <a:lstStyle/>
          <a:p>
            <a:r>
              <a:rPr lang="en-IN" sz="1000" dirty="0"/>
              <a:t>E11504</a:t>
            </a:r>
          </a:p>
        </p:txBody>
      </p:sp>
      <p:cxnSp>
        <p:nvCxnSpPr>
          <p:cNvPr id="51" name="Straight Connector 50"/>
          <p:cNvCxnSpPr>
            <a:endCxn id="21" idx="0"/>
          </p:cNvCxnSpPr>
          <p:nvPr/>
        </p:nvCxnSpPr>
        <p:spPr bwMode="auto">
          <a:xfrm>
            <a:off x="9483620" y="2864909"/>
            <a:ext cx="0" cy="106452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2" name="Straight Connector 51"/>
          <p:cNvCxnSpPr>
            <a:stCxn id="21" idx="2"/>
            <a:endCxn id="22" idx="0"/>
          </p:cNvCxnSpPr>
          <p:nvPr/>
        </p:nvCxnSpPr>
        <p:spPr bwMode="auto">
          <a:xfrm>
            <a:off x="9483621" y="4580750"/>
            <a:ext cx="9525" cy="214403"/>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3" name="Straight Connector 52"/>
          <p:cNvCxnSpPr/>
          <p:nvPr/>
        </p:nvCxnSpPr>
        <p:spPr bwMode="auto">
          <a:xfrm>
            <a:off x="9288393" y="5420709"/>
            <a:ext cx="9939" cy="41805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54" name="TextBox 53"/>
          <p:cNvSpPr txBox="1"/>
          <p:nvPr/>
        </p:nvSpPr>
        <p:spPr>
          <a:xfrm>
            <a:off x="8930584" y="5835901"/>
            <a:ext cx="928459" cy="246221"/>
          </a:xfrm>
          <a:prstGeom prst="rect">
            <a:avLst/>
          </a:prstGeom>
          <a:noFill/>
        </p:spPr>
        <p:txBody>
          <a:bodyPr wrap="none" rtlCol="0">
            <a:spAutoFit/>
          </a:bodyPr>
          <a:lstStyle/>
          <a:p>
            <a:r>
              <a:rPr lang="en-IN" sz="1000" dirty="0"/>
              <a:t>230 VAC input</a:t>
            </a:r>
          </a:p>
        </p:txBody>
      </p:sp>
      <p:cxnSp>
        <p:nvCxnSpPr>
          <p:cNvPr id="55" name="Straight Connector 54"/>
          <p:cNvCxnSpPr>
            <a:endCxn id="32" idx="1"/>
          </p:cNvCxnSpPr>
          <p:nvPr/>
        </p:nvCxnSpPr>
        <p:spPr bwMode="auto">
          <a:xfrm>
            <a:off x="5229708" y="5644948"/>
            <a:ext cx="898041" cy="1430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56" name="Oval 55"/>
          <p:cNvSpPr/>
          <p:nvPr/>
        </p:nvSpPr>
        <p:spPr bwMode="auto">
          <a:xfrm>
            <a:off x="5005913" y="5826508"/>
            <a:ext cx="441653" cy="425107"/>
          </a:xfrm>
          <a:prstGeom prst="ellipse">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IN" sz="2400">
              <a:solidFill>
                <a:srgbClr val="000000"/>
              </a:solidFill>
              <a:latin typeface="Arial" charset="0"/>
              <a:ea typeface="ＭＳ Ｐゴシック" charset="0"/>
            </a:endParaRPr>
          </a:p>
        </p:txBody>
      </p:sp>
      <p:cxnSp>
        <p:nvCxnSpPr>
          <p:cNvPr id="57" name="Straight Connector 56"/>
          <p:cNvCxnSpPr>
            <a:endCxn id="56" idx="0"/>
          </p:cNvCxnSpPr>
          <p:nvPr/>
        </p:nvCxnSpPr>
        <p:spPr bwMode="auto">
          <a:xfrm flipH="1">
            <a:off x="5226740" y="5635555"/>
            <a:ext cx="26375" cy="190952"/>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8" name="Straight Connector 57"/>
          <p:cNvCxnSpPr>
            <a:stCxn id="56" idx="4"/>
          </p:cNvCxnSpPr>
          <p:nvPr/>
        </p:nvCxnSpPr>
        <p:spPr bwMode="auto">
          <a:xfrm>
            <a:off x="5226739" y="6251615"/>
            <a:ext cx="0" cy="192825"/>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9" name="Straight Connector 58"/>
          <p:cNvCxnSpPr/>
          <p:nvPr/>
        </p:nvCxnSpPr>
        <p:spPr bwMode="auto">
          <a:xfrm>
            <a:off x="5226739" y="6444439"/>
            <a:ext cx="573018"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0" name="Straight Connector 59"/>
          <p:cNvCxnSpPr/>
          <p:nvPr/>
        </p:nvCxnSpPr>
        <p:spPr bwMode="auto">
          <a:xfrm flipV="1">
            <a:off x="5799757" y="5768579"/>
            <a:ext cx="0" cy="675861"/>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1" name="Straight Connector 60"/>
          <p:cNvCxnSpPr/>
          <p:nvPr/>
        </p:nvCxnSpPr>
        <p:spPr bwMode="auto">
          <a:xfrm>
            <a:off x="5799758" y="5768578"/>
            <a:ext cx="327991"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2" name="Straight Arrow Connector 61"/>
          <p:cNvCxnSpPr>
            <a:stCxn id="56" idx="3"/>
            <a:endCxn id="56" idx="7"/>
          </p:cNvCxnSpPr>
          <p:nvPr/>
        </p:nvCxnSpPr>
        <p:spPr bwMode="auto">
          <a:xfrm flipV="1">
            <a:off x="5070592" y="5888763"/>
            <a:ext cx="312295" cy="300597"/>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63" name="TextBox 62"/>
          <p:cNvSpPr txBox="1"/>
          <p:nvPr/>
        </p:nvSpPr>
        <p:spPr>
          <a:xfrm>
            <a:off x="4060410" y="6086624"/>
            <a:ext cx="1120820" cy="400110"/>
          </a:xfrm>
          <a:prstGeom prst="rect">
            <a:avLst/>
          </a:prstGeom>
          <a:noFill/>
        </p:spPr>
        <p:txBody>
          <a:bodyPr wrap="none" rtlCol="0">
            <a:spAutoFit/>
          </a:bodyPr>
          <a:lstStyle/>
          <a:p>
            <a:r>
              <a:rPr lang="en-IN" sz="1000" dirty="0"/>
              <a:t>Spindle power </a:t>
            </a:r>
          </a:p>
          <a:p>
            <a:r>
              <a:rPr lang="en-IN" sz="1000" dirty="0"/>
              <a:t>Feedback 4-20mA</a:t>
            </a:r>
          </a:p>
        </p:txBody>
      </p:sp>
      <p:sp>
        <p:nvSpPr>
          <p:cNvPr id="64" name="TextBox 63"/>
          <p:cNvSpPr txBox="1"/>
          <p:nvPr/>
        </p:nvSpPr>
        <p:spPr>
          <a:xfrm>
            <a:off x="7812920" y="1360554"/>
            <a:ext cx="998991" cy="2708434"/>
          </a:xfrm>
          <a:prstGeom prst="rect">
            <a:avLst/>
          </a:prstGeom>
          <a:noFill/>
        </p:spPr>
        <p:txBody>
          <a:bodyPr wrap="none" rtlCol="0">
            <a:spAutoFit/>
          </a:bodyPr>
          <a:lstStyle/>
          <a:p>
            <a:r>
              <a:rPr lang="en-IN" sz="1000" dirty="0"/>
              <a:t>BOM:</a:t>
            </a:r>
            <a:br>
              <a:rPr lang="en-IN" sz="1000" dirty="0"/>
            </a:br>
            <a:r>
              <a:rPr lang="en-IN" sz="1000" dirty="0"/>
              <a:t>VTV122 X 1</a:t>
            </a:r>
          </a:p>
          <a:p>
            <a:r>
              <a:rPr lang="en-IN" sz="1000" dirty="0"/>
              <a:t>TS5289 X 1</a:t>
            </a:r>
          </a:p>
          <a:p>
            <a:r>
              <a:rPr lang="en-IN" sz="1000" dirty="0"/>
              <a:t>EVC014 X 1</a:t>
            </a:r>
          </a:p>
          <a:p>
            <a:r>
              <a:rPr lang="en-IN" sz="1000" dirty="0"/>
              <a:t>DP2200 X 2</a:t>
            </a:r>
          </a:p>
          <a:p>
            <a:r>
              <a:rPr lang="en-IN" sz="1000" dirty="0"/>
              <a:t>TP3237 X 1</a:t>
            </a:r>
          </a:p>
          <a:p>
            <a:r>
              <a:rPr lang="en-IN" sz="1000" dirty="0"/>
              <a:t>EVC126 X 4</a:t>
            </a:r>
          </a:p>
          <a:p>
            <a:r>
              <a:rPr lang="en-IN" sz="1000" dirty="0"/>
              <a:t>PN7571 X 1</a:t>
            </a:r>
          </a:p>
          <a:p>
            <a:r>
              <a:rPr lang="en-IN" sz="1000" dirty="0"/>
              <a:t>E11504 X 1</a:t>
            </a:r>
          </a:p>
          <a:p>
            <a:r>
              <a:rPr lang="en-IN" sz="1000" dirty="0"/>
              <a:t>AY1000 X 1</a:t>
            </a:r>
          </a:p>
          <a:p>
            <a:r>
              <a:rPr lang="en-IN" sz="1000" dirty="0"/>
              <a:t>DN4011 X 1</a:t>
            </a:r>
            <a:br>
              <a:rPr lang="en-IN" sz="1000" dirty="0"/>
            </a:br>
            <a:r>
              <a:rPr lang="en-IN" sz="1000" dirty="0"/>
              <a:t>Patch cord X1</a:t>
            </a:r>
            <a:br>
              <a:rPr lang="en-IN" sz="1000" dirty="0"/>
            </a:br>
            <a:r>
              <a:rPr lang="en-IN" sz="1000" dirty="0"/>
              <a:t>PC X 1</a:t>
            </a:r>
            <a:br>
              <a:rPr lang="en-IN" sz="1000" dirty="0"/>
            </a:br>
            <a:r>
              <a:rPr lang="en-IN" sz="1000" dirty="0"/>
              <a:t>SQL Express X 1</a:t>
            </a:r>
          </a:p>
          <a:p>
            <a:r>
              <a:rPr lang="en-IN" sz="1000" dirty="0"/>
              <a:t>QLS025 X 1</a:t>
            </a:r>
          </a:p>
          <a:p>
            <a:endParaRPr lang="en-IN" sz="1000" dirty="0"/>
          </a:p>
          <a:p>
            <a:endParaRPr lang="en-IN" sz="1000" dirty="0"/>
          </a:p>
        </p:txBody>
      </p:sp>
      <p:sp>
        <p:nvSpPr>
          <p:cNvPr id="65" name="TextBox 64"/>
          <p:cNvSpPr txBox="1"/>
          <p:nvPr/>
        </p:nvSpPr>
        <p:spPr>
          <a:xfrm>
            <a:off x="9433512" y="3256546"/>
            <a:ext cx="739305" cy="246221"/>
          </a:xfrm>
          <a:prstGeom prst="rect">
            <a:avLst/>
          </a:prstGeom>
          <a:noFill/>
        </p:spPr>
        <p:txBody>
          <a:bodyPr wrap="none" rtlCol="0">
            <a:spAutoFit/>
          </a:bodyPr>
          <a:lstStyle/>
          <a:p>
            <a:r>
              <a:rPr lang="en-IN" sz="1000" dirty="0"/>
              <a:t>Patch cord</a:t>
            </a:r>
          </a:p>
        </p:txBody>
      </p:sp>
    </p:spTree>
    <p:extLst>
      <p:ext uri="{BB962C8B-B14F-4D97-AF65-F5344CB8AC3E}">
        <p14:creationId xmlns:p14="http://schemas.microsoft.com/office/powerpoint/2010/main" val="8891061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1015999"/>
            <a:ext cx="12192000" cy="3556001"/>
          </a:xfrm>
        </p:spPr>
        <p:txBody>
          <a:bodyPr>
            <a:normAutofit/>
          </a:bodyPr>
          <a:lstStyle/>
          <a:p>
            <a:pPr algn="l"/>
            <a:r>
              <a:rPr lang="en-IN" sz="2200" b="1" dirty="0"/>
              <a:t>Breakdown time caused by Proximity Switch Damage in Heavy Equipment? No More!!!</a:t>
            </a:r>
            <a:r>
              <a:rPr lang="en-IN" sz="2200" dirty="0"/>
              <a:t/>
            </a:r>
            <a:br>
              <a:rPr lang="en-IN" sz="2200" dirty="0"/>
            </a:br>
            <a:r>
              <a:rPr lang="en-IN" sz="2200" dirty="0"/>
              <a:t>Many times, proximity switches are damaged by the larger than ideal mechanical play in the moving machine </a:t>
            </a:r>
            <a:r>
              <a:rPr lang="en-IN" sz="2200" dirty="0" smtClean="0"/>
              <a:t>components. So</a:t>
            </a:r>
            <a:r>
              <a:rPr lang="en-IN" sz="2200" dirty="0"/>
              <a:t>, the sensing target or the proximity moves either too close to proximity switch and proximity switch gets mechanically damaged</a:t>
            </a:r>
            <a:r>
              <a:rPr lang="en-IN" sz="2200" dirty="0" smtClean="0"/>
              <a:t>. OR The </a:t>
            </a:r>
            <a:r>
              <a:rPr lang="en-IN" sz="2200" dirty="0"/>
              <a:t>sensing target moves away from the proximity switch and does not get sensed </a:t>
            </a:r>
            <a:r>
              <a:rPr lang="en-IN" sz="2200" dirty="0" smtClean="0"/>
              <a:t>at </a:t>
            </a:r>
            <a:r>
              <a:rPr lang="en-IN" sz="2200" dirty="0"/>
              <a:t>all</a:t>
            </a:r>
            <a:r>
              <a:rPr lang="en-IN" sz="2200" dirty="0" smtClean="0"/>
              <a:t>. Both </a:t>
            </a:r>
            <a:r>
              <a:rPr lang="en-IN" sz="2200" dirty="0"/>
              <a:t>these conditions cause break downs, which can cause big down time costs for the equipment and also product loss.</a:t>
            </a:r>
            <a:br>
              <a:rPr lang="en-IN" sz="2200" dirty="0"/>
            </a:br>
            <a:r>
              <a:rPr lang="en-IN" sz="2200" b="1" u="sng" dirty="0" smtClean="0"/>
              <a:t>Solution</a:t>
            </a:r>
            <a:r>
              <a:rPr lang="en-IN" sz="2200" b="1" u="sng" dirty="0"/>
              <a:t>:</a:t>
            </a:r>
            <a:r>
              <a:rPr lang="en-IN" sz="2200" dirty="0"/>
              <a:t/>
            </a:r>
            <a:br>
              <a:rPr lang="en-IN" sz="2200" dirty="0"/>
            </a:br>
            <a:r>
              <a:rPr lang="en-IN" sz="2200" dirty="0"/>
              <a:t>Monitor the actual sensing distance of critical applications with </a:t>
            </a:r>
            <a:r>
              <a:rPr lang="en-IN" sz="2200" dirty="0" err="1"/>
              <a:t>ifm</a:t>
            </a:r>
            <a:r>
              <a:rPr lang="en-IN" sz="2200" dirty="0"/>
              <a:t> IO link proximity switches connected to </a:t>
            </a:r>
            <a:r>
              <a:rPr lang="en-IN" sz="2200" dirty="0" err="1"/>
              <a:t>ifm</a:t>
            </a:r>
            <a:r>
              <a:rPr lang="en-IN" sz="2200" dirty="0"/>
              <a:t> IO link masters (PLC remote IOs which can read and write values to IO link devices).</a:t>
            </a:r>
          </a:p>
        </p:txBody>
      </p:sp>
      <p:sp>
        <p:nvSpPr>
          <p:cNvPr id="4" name="Date Placeholder 3"/>
          <p:cNvSpPr>
            <a:spLocks noGrp="1"/>
          </p:cNvSpPr>
          <p:nvPr>
            <p:ph type="dt" sz="half" idx="10"/>
          </p:nvPr>
        </p:nvSpPr>
        <p:spPr/>
        <p:txBody>
          <a:bodyPr/>
          <a:lstStyle/>
          <a:p>
            <a:r>
              <a:rPr lang="de-DE" smtClean="0"/>
              <a:t>pw 12.2015</a:t>
            </a:r>
            <a:endParaRPr lang="de-DE" dirty="0"/>
          </a:p>
        </p:txBody>
      </p:sp>
      <p:sp>
        <p:nvSpPr>
          <p:cNvPr id="5" name="Slide Number Placeholder 4"/>
          <p:cNvSpPr>
            <a:spLocks noGrp="1"/>
          </p:cNvSpPr>
          <p:nvPr>
            <p:ph type="sldNum" sz="quarter" idx="12"/>
          </p:nvPr>
        </p:nvSpPr>
        <p:spPr/>
        <p:txBody>
          <a:bodyPr/>
          <a:lstStyle/>
          <a:p>
            <a:fld id="{09AD34A2-EE0D-B74D-A5FF-4EBBE21DF867}" type="slidenum">
              <a:rPr lang="de-DE" smtClean="0"/>
              <a:t>18</a:t>
            </a:fld>
            <a:endParaRPr lang="de-DE"/>
          </a:p>
        </p:txBody>
      </p:sp>
      <p:pic>
        <p:nvPicPr>
          <p:cNvPr id="6" name="Picture 5" descr="C:\Users\bipin1\Desktop\IXXXX_IO_Link_Count_29082018.png"/>
          <p:cNvPicPr/>
          <p:nvPr/>
        </p:nvPicPr>
        <p:blipFill>
          <a:blip r:embed="rId2">
            <a:extLst>
              <a:ext uri="{28A0092B-C50C-407E-A947-70E740481C1C}">
                <a14:useLocalDpi xmlns:a14="http://schemas.microsoft.com/office/drawing/2010/main" val="0"/>
              </a:ext>
            </a:extLst>
          </a:blip>
          <a:srcRect/>
          <a:stretch>
            <a:fillRect/>
          </a:stretch>
        </p:blipFill>
        <p:spPr bwMode="auto">
          <a:xfrm>
            <a:off x="0" y="4310743"/>
            <a:ext cx="5268686" cy="2281584"/>
          </a:xfrm>
          <a:prstGeom prst="rect">
            <a:avLst/>
          </a:prstGeom>
          <a:noFill/>
          <a:ln>
            <a:noFill/>
          </a:ln>
        </p:spPr>
      </p:pic>
    </p:spTree>
    <p:extLst>
      <p:ext uri="{BB962C8B-B14F-4D97-AF65-F5344CB8AC3E}">
        <p14:creationId xmlns:p14="http://schemas.microsoft.com/office/powerpoint/2010/main" val="31490555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1"/>
          <p:cNvSpPr txBox="1">
            <a:spLocks/>
          </p:cNvSpPr>
          <p:nvPr/>
        </p:nvSpPr>
        <p:spPr>
          <a:xfrm>
            <a:off x="1939200" y="965700"/>
            <a:ext cx="5422900" cy="540000"/>
          </a:xfrm>
          <a:prstGeom prst="rect">
            <a:avLst/>
          </a:prstGeom>
        </p:spPr>
        <p:txBody>
          <a:bodyPr vert="horz" lIns="0" tIns="45720" rIns="91440" bIns="45720" rtlCol="0" anchor="ctr"/>
          <a:lstStyle>
            <a:defPPr>
              <a:defRPr lang="de-DE"/>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2000" b="1" dirty="0">
                <a:solidFill>
                  <a:srgbClr val="FF9900"/>
                </a:solidFill>
                <a:latin typeface="Arial"/>
                <a:ea typeface="MS PGothic" charset="0"/>
                <a:cs typeface="Arial"/>
              </a:rPr>
              <a:t>IO-Link as a global standard</a:t>
            </a:r>
            <a:endParaRPr lang="de-DE" sz="2000" b="1" dirty="0">
              <a:solidFill>
                <a:srgbClr val="FF9900"/>
              </a:solidFill>
              <a:latin typeface="Arial"/>
              <a:cs typeface="Arial"/>
            </a:endParaRPr>
          </a:p>
        </p:txBody>
      </p:sp>
      <p:sp>
        <p:nvSpPr>
          <p:cNvPr id="2" name="Textfeld 1"/>
          <p:cNvSpPr txBox="1"/>
          <p:nvPr/>
        </p:nvSpPr>
        <p:spPr>
          <a:xfrm>
            <a:off x="1845796" y="1504343"/>
            <a:ext cx="8210146" cy="4893647"/>
          </a:xfrm>
          <a:prstGeom prst="rect">
            <a:avLst/>
          </a:prstGeom>
          <a:noFill/>
        </p:spPr>
        <p:txBody>
          <a:bodyPr wrap="square" rtlCol="0">
            <a:spAutoFit/>
          </a:bodyPr>
          <a:lstStyle/>
          <a:p>
            <a:r>
              <a:rPr lang="de-DE" sz="1200" dirty="0"/>
              <a:t>The IO-Link </a:t>
            </a:r>
            <a:r>
              <a:rPr lang="de-DE" sz="1200" dirty="0" err="1"/>
              <a:t>group</a:t>
            </a:r>
            <a:r>
              <a:rPr lang="de-DE" sz="1200" dirty="0"/>
              <a:t> </a:t>
            </a:r>
            <a:r>
              <a:rPr lang="de-DE" sz="1200" dirty="0" err="1"/>
              <a:t>of</a:t>
            </a:r>
            <a:r>
              <a:rPr lang="de-DE" sz="1200" dirty="0"/>
              <a:t> </a:t>
            </a:r>
            <a:r>
              <a:rPr lang="de-DE" sz="1200" dirty="0" err="1"/>
              <a:t>companies</a:t>
            </a:r>
            <a:r>
              <a:rPr lang="de-DE" sz="1200" dirty="0"/>
              <a:t> </a:t>
            </a:r>
            <a:r>
              <a:rPr lang="de-DE" sz="1200" dirty="0" err="1"/>
              <a:t>incorporates</a:t>
            </a:r>
            <a:r>
              <a:rPr lang="de-DE" sz="1200" dirty="0"/>
              <a:t> </a:t>
            </a:r>
            <a:r>
              <a:rPr lang="de-DE" sz="1200" dirty="0" err="1"/>
              <a:t>more</a:t>
            </a:r>
            <a:r>
              <a:rPr lang="de-DE" sz="1200" dirty="0"/>
              <a:t> </a:t>
            </a:r>
            <a:r>
              <a:rPr lang="de-DE" sz="1200" dirty="0" err="1"/>
              <a:t>than</a:t>
            </a:r>
            <a:r>
              <a:rPr lang="de-DE" sz="1200" dirty="0"/>
              <a:t> 110 </a:t>
            </a:r>
            <a:r>
              <a:rPr lang="de-DE" sz="1200" dirty="0" err="1"/>
              <a:t>member</a:t>
            </a:r>
            <a:r>
              <a:rPr lang="de-DE" sz="1200" dirty="0"/>
              <a:t> </a:t>
            </a:r>
            <a:r>
              <a:rPr lang="de-DE" sz="1200" dirty="0" err="1"/>
              <a:t>companies</a:t>
            </a:r>
            <a:r>
              <a:rPr lang="de-DE" sz="1200" dirty="0"/>
              <a:t> </a:t>
            </a:r>
            <a:r>
              <a:rPr lang="de-DE" sz="1200" dirty="0" err="1"/>
              <a:t>as</a:t>
            </a:r>
            <a:r>
              <a:rPr lang="de-DE" sz="1200" dirty="0"/>
              <a:t> </a:t>
            </a:r>
            <a:r>
              <a:rPr lang="de-DE" sz="1200" dirty="0" err="1"/>
              <a:t>of</a:t>
            </a:r>
            <a:r>
              <a:rPr lang="de-DE" sz="1200" dirty="0"/>
              <a:t> end </a:t>
            </a:r>
            <a:r>
              <a:rPr lang="de-DE" sz="1200" dirty="0" err="1"/>
              <a:t>of</a:t>
            </a:r>
            <a:r>
              <a:rPr lang="de-DE" sz="1200" dirty="0"/>
              <a:t> 2015. The </a:t>
            </a:r>
            <a:r>
              <a:rPr lang="de-DE" sz="1200" dirty="0" err="1"/>
              <a:t>member</a:t>
            </a:r>
            <a:endParaRPr lang="de-DE" sz="1200" dirty="0"/>
          </a:p>
          <a:p>
            <a:r>
              <a:rPr lang="de-DE" sz="1200" dirty="0" err="1"/>
              <a:t>companies</a:t>
            </a:r>
            <a:r>
              <a:rPr lang="de-DE" sz="1200" dirty="0"/>
              <a:t> </a:t>
            </a:r>
            <a:r>
              <a:rPr lang="de-DE" sz="1200" dirty="0" err="1"/>
              <a:t>came</a:t>
            </a:r>
            <a:r>
              <a:rPr lang="de-DE" sz="1200" dirty="0"/>
              <a:t> </a:t>
            </a:r>
            <a:r>
              <a:rPr lang="de-DE" sz="1200" dirty="0" err="1"/>
              <a:t>from</a:t>
            </a:r>
            <a:r>
              <a:rPr lang="de-DE" sz="1200" dirty="0"/>
              <a:t> 4 different </a:t>
            </a:r>
            <a:r>
              <a:rPr lang="de-DE" sz="1200" dirty="0" err="1"/>
              <a:t>areas</a:t>
            </a:r>
            <a:r>
              <a:rPr lang="de-DE" sz="1200" dirty="0"/>
              <a:t>: </a:t>
            </a:r>
            <a:r>
              <a:rPr lang="de-DE" sz="1200" dirty="0" err="1"/>
              <a:t>sensors</a:t>
            </a:r>
            <a:r>
              <a:rPr lang="de-DE" sz="1200" dirty="0"/>
              <a:t>, </a:t>
            </a:r>
            <a:r>
              <a:rPr lang="de-DE" sz="1200" dirty="0" err="1"/>
              <a:t>actuators</a:t>
            </a:r>
            <a:r>
              <a:rPr lang="de-DE" sz="1200" dirty="0"/>
              <a:t>, PLCs </a:t>
            </a:r>
            <a:r>
              <a:rPr lang="de-DE" sz="1200" dirty="0" err="1"/>
              <a:t>and</a:t>
            </a:r>
            <a:r>
              <a:rPr lang="de-DE" sz="1200" dirty="0"/>
              <a:t> </a:t>
            </a:r>
            <a:r>
              <a:rPr lang="de-DE" sz="1200" dirty="0" err="1"/>
              <a:t>integrators</a:t>
            </a:r>
            <a:r>
              <a:rPr lang="de-DE" sz="1200" dirty="0"/>
              <a:t>. ifm electronic was </a:t>
            </a:r>
            <a:r>
              <a:rPr lang="de-DE" sz="1200" dirty="0" err="1"/>
              <a:t>one</a:t>
            </a:r>
            <a:r>
              <a:rPr lang="de-DE" sz="1200" dirty="0"/>
              <a:t> </a:t>
            </a:r>
            <a:r>
              <a:rPr lang="de-DE" sz="1200" dirty="0" err="1"/>
              <a:t>of</a:t>
            </a:r>
            <a:r>
              <a:rPr lang="de-DE" sz="1200" dirty="0"/>
              <a:t> </a:t>
            </a:r>
            <a:r>
              <a:rPr lang="de-DE" sz="1200" dirty="0" err="1"/>
              <a:t>the</a:t>
            </a:r>
            <a:r>
              <a:rPr lang="de-DE" sz="1200" dirty="0"/>
              <a:t> </a:t>
            </a:r>
          </a:p>
          <a:p>
            <a:r>
              <a:rPr lang="de-DE" sz="1200" dirty="0" err="1"/>
              <a:t>founding</a:t>
            </a:r>
            <a:r>
              <a:rPr lang="de-DE" sz="1200" dirty="0"/>
              <a:t> </a:t>
            </a:r>
            <a:r>
              <a:rPr lang="de-DE" sz="1200" dirty="0" err="1"/>
              <a:t>members</a:t>
            </a:r>
            <a:r>
              <a:rPr lang="de-DE" sz="1200" dirty="0"/>
              <a:t>. IO-Link </a:t>
            </a:r>
            <a:r>
              <a:rPr lang="de-DE" sz="1200" dirty="0" err="1"/>
              <a:t>is</a:t>
            </a:r>
            <a:r>
              <a:rPr lang="de-DE" sz="1200" dirty="0"/>
              <a:t> an international </a:t>
            </a:r>
            <a:r>
              <a:rPr lang="de-DE" sz="1200" dirty="0" err="1"/>
              <a:t>standard</a:t>
            </a:r>
            <a:r>
              <a:rPr lang="de-DE" sz="1200" dirty="0"/>
              <a:t> </a:t>
            </a:r>
            <a:r>
              <a:rPr lang="de-DE" sz="1200" dirty="0" err="1"/>
              <a:t>under</a:t>
            </a:r>
            <a:r>
              <a:rPr lang="de-DE" sz="1200" dirty="0"/>
              <a:t> </a:t>
            </a:r>
            <a:r>
              <a:rPr lang="de-DE" sz="1200" b="1" dirty="0"/>
              <a:t>IEC61131-9</a:t>
            </a:r>
            <a:r>
              <a:rPr lang="de-DE" sz="1200" dirty="0"/>
              <a:t>.</a:t>
            </a:r>
          </a:p>
          <a:p>
            <a:endParaRPr lang="de-DE" sz="1200" dirty="0"/>
          </a:p>
          <a:p>
            <a:r>
              <a:rPr lang="de-DE" sz="1200" b="1" dirty="0"/>
              <a:t>Sensor </a:t>
            </a:r>
            <a:r>
              <a:rPr lang="de-DE" sz="1200" b="1" dirty="0" err="1"/>
              <a:t>companies</a:t>
            </a:r>
            <a:r>
              <a:rPr lang="de-DE" sz="1200" b="1" dirty="0"/>
              <a:t>:</a:t>
            </a:r>
          </a:p>
          <a:p>
            <a:r>
              <a:rPr lang="de-DE" sz="1200" dirty="0"/>
              <a:t>All </a:t>
            </a:r>
            <a:r>
              <a:rPr lang="de-DE" sz="1200" dirty="0" err="1"/>
              <a:t>major</a:t>
            </a:r>
            <a:r>
              <a:rPr lang="de-DE" sz="1200" dirty="0"/>
              <a:t> </a:t>
            </a:r>
            <a:r>
              <a:rPr lang="de-DE" sz="1200" dirty="0" err="1"/>
              <a:t>sensor</a:t>
            </a:r>
            <a:r>
              <a:rPr lang="de-DE" sz="1200" dirty="0"/>
              <a:t> </a:t>
            </a:r>
            <a:r>
              <a:rPr lang="de-DE" sz="1200" dirty="0" err="1"/>
              <a:t>companies</a:t>
            </a:r>
            <a:r>
              <a:rPr lang="de-DE" sz="1200" dirty="0"/>
              <a:t> </a:t>
            </a:r>
            <a:r>
              <a:rPr lang="de-DE" sz="1200" dirty="0" err="1"/>
              <a:t>are</a:t>
            </a:r>
            <a:r>
              <a:rPr lang="de-DE" sz="1200" dirty="0"/>
              <a:t> </a:t>
            </a:r>
            <a:r>
              <a:rPr lang="de-DE" sz="1200" dirty="0" err="1"/>
              <a:t>involved</a:t>
            </a:r>
            <a:r>
              <a:rPr lang="de-DE" sz="1200" dirty="0"/>
              <a:t>. The </a:t>
            </a:r>
            <a:r>
              <a:rPr lang="de-DE" sz="1200" dirty="0" err="1"/>
              <a:t>SmartSensor</a:t>
            </a:r>
            <a:r>
              <a:rPr lang="de-DE" sz="1200" dirty="0"/>
              <a:t> Profile </a:t>
            </a:r>
            <a:r>
              <a:rPr lang="de-DE" sz="1200" dirty="0" err="1"/>
              <a:t>gives</a:t>
            </a:r>
            <a:r>
              <a:rPr lang="de-DE" sz="1200" dirty="0"/>
              <a:t> </a:t>
            </a:r>
            <a:r>
              <a:rPr lang="de-DE" sz="1200" dirty="0" err="1"/>
              <a:t>the</a:t>
            </a:r>
            <a:r>
              <a:rPr lang="de-DE" sz="1200" dirty="0"/>
              <a:t> </a:t>
            </a:r>
            <a:r>
              <a:rPr lang="de-DE" sz="1200" dirty="0" err="1"/>
              <a:t>customer</a:t>
            </a:r>
            <a:r>
              <a:rPr lang="de-DE" sz="1200" dirty="0"/>
              <a:t> </a:t>
            </a:r>
            <a:r>
              <a:rPr lang="de-DE" sz="1200" dirty="0" err="1"/>
              <a:t>the</a:t>
            </a:r>
            <a:r>
              <a:rPr lang="de-DE" sz="1200" dirty="0"/>
              <a:t> </a:t>
            </a:r>
            <a:r>
              <a:rPr lang="de-DE" sz="1200" dirty="0" err="1"/>
              <a:t>ability</a:t>
            </a:r>
            <a:r>
              <a:rPr lang="de-DE" sz="1200" dirty="0"/>
              <a:t> </a:t>
            </a:r>
            <a:r>
              <a:rPr lang="de-DE" sz="1200" dirty="0" err="1"/>
              <a:t>to</a:t>
            </a:r>
            <a:r>
              <a:rPr lang="de-DE" sz="1200" dirty="0"/>
              <a:t> </a:t>
            </a:r>
            <a:r>
              <a:rPr lang="de-DE" sz="1200" dirty="0" err="1"/>
              <a:t>have</a:t>
            </a:r>
            <a:r>
              <a:rPr lang="de-DE" sz="1200" dirty="0"/>
              <a:t> an </a:t>
            </a:r>
            <a:r>
              <a:rPr lang="de-DE" sz="1200" dirty="0" err="1"/>
              <a:t>interoperability</a:t>
            </a:r>
            <a:r>
              <a:rPr lang="de-DE" sz="1200" dirty="0"/>
              <a:t> </a:t>
            </a:r>
            <a:r>
              <a:rPr lang="de-DE" sz="1200" dirty="0" err="1"/>
              <a:t>between</a:t>
            </a:r>
            <a:r>
              <a:rPr lang="de-DE" sz="1200" dirty="0"/>
              <a:t> different </a:t>
            </a:r>
            <a:r>
              <a:rPr lang="de-DE" sz="1200" dirty="0" err="1"/>
              <a:t>sensors</a:t>
            </a:r>
            <a:r>
              <a:rPr lang="de-DE" sz="1200" dirty="0"/>
              <a:t>. </a:t>
            </a:r>
            <a:r>
              <a:rPr lang="de-DE" sz="1200" dirty="0" err="1"/>
              <a:t>There</a:t>
            </a:r>
            <a:r>
              <a:rPr lang="de-DE" sz="1200" dirty="0"/>
              <a:t> </a:t>
            </a:r>
            <a:r>
              <a:rPr lang="de-DE" sz="1200" dirty="0" err="1"/>
              <a:t>are</a:t>
            </a:r>
            <a:r>
              <a:rPr lang="de-DE" sz="1200" dirty="0"/>
              <a:t> </a:t>
            </a:r>
            <a:r>
              <a:rPr lang="de-DE" sz="1200" dirty="0" err="1"/>
              <a:t>more</a:t>
            </a:r>
            <a:r>
              <a:rPr lang="de-DE" sz="1200" dirty="0"/>
              <a:t> </a:t>
            </a:r>
            <a:r>
              <a:rPr lang="de-DE" sz="1200" dirty="0" err="1"/>
              <a:t>than</a:t>
            </a:r>
            <a:r>
              <a:rPr lang="de-DE" sz="1200" dirty="0"/>
              <a:t> 400 </a:t>
            </a:r>
            <a:r>
              <a:rPr lang="de-DE" sz="1200" dirty="0" err="1"/>
              <a:t>sensors</a:t>
            </a:r>
            <a:r>
              <a:rPr lang="de-DE" sz="1200" dirty="0"/>
              <a:t> </a:t>
            </a:r>
            <a:r>
              <a:rPr lang="de-DE" sz="1200" dirty="0" err="1"/>
              <a:t>with</a:t>
            </a:r>
            <a:r>
              <a:rPr lang="de-DE" sz="1200" dirty="0"/>
              <a:t> IO-Link </a:t>
            </a:r>
            <a:r>
              <a:rPr lang="de-DE" sz="1200" dirty="0" err="1"/>
              <a:t>available</a:t>
            </a:r>
            <a:r>
              <a:rPr lang="de-DE" sz="1200" dirty="0"/>
              <a:t> </a:t>
            </a:r>
            <a:r>
              <a:rPr lang="de-DE" sz="1200" dirty="0" err="1"/>
              <a:t>only</a:t>
            </a:r>
            <a:r>
              <a:rPr lang="de-DE" sz="1200" dirty="0"/>
              <a:t> </a:t>
            </a:r>
            <a:r>
              <a:rPr lang="de-DE" sz="1200" dirty="0" err="1"/>
              <a:t>from</a:t>
            </a:r>
            <a:r>
              <a:rPr lang="de-DE" sz="1200" dirty="0"/>
              <a:t> </a:t>
            </a:r>
            <a:r>
              <a:rPr lang="de-DE" sz="1200" dirty="0" err="1"/>
              <a:t>ifm</a:t>
            </a:r>
            <a:r>
              <a:rPr lang="de-DE" sz="1200" dirty="0"/>
              <a:t>. In total </a:t>
            </a:r>
            <a:r>
              <a:rPr lang="de-DE" sz="1200" dirty="0" err="1"/>
              <a:t>ifm</a:t>
            </a:r>
            <a:r>
              <a:rPr lang="de-DE" sz="1200" dirty="0"/>
              <a:t> </a:t>
            </a:r>
            <a:r>
              <a:rPr lang="de-DE" sz="1200" dirty="0" err="1"/>
              <a:t>has</a:t>
            </a:r>
            <a:r>
              <a:rPr lang="de-DE" sz="1200" dirty="0"/>
              <a:t> </a:t>
            </a:r>
            <a:r>
              <a:rPr lang="de-DE" sz="1200" dirty="0" err="1"/>
              <a:t>sold</a:t>
            </a:r>
            <a:r>
              <a:rPr lang="de-DE" sz="1200" dirty="0"/>
              <a:t> </a:t>
            </a:r>
            <a:r>
              <a:rPr lang="de-DE" sz="1200" dirty="0" err="1"/>
              <a:t>more</a:t>
            </a:r>
            <a:r>
              <a:rPr lang="de-DE" sz="1200" dirty="0"/>
              <a:t> </a:t>
            </a:r>
            <a:r>
              <a:rPr lang="de-DE" sz="1200" dirty="0" err="1"/>
              <a:t>than</a:t>
            </a:r>
            <a:r>
              <a:rPr lang="de-DE" sz="1200" dirty="0"/>
              <a:t> 2 </a:t>
            </a:r>
            <a:r>
              <a:rPr lang="de-DE" sz="1200" dirty="0" err="1"/>
              <a:t>million</a:t>
            </a:r>
            <a:r>
              <a:rPr lang="de-DE" sz="1200" dirty="0"/>
              <a:t> IO-Link </a:t>
            </a:r>
            <a:r>
              <a:rPr lang="de-DE" sz="1200" dirty="0" err="1"/>
              <a:t>sensors</a:t>
            </a:r>
            <a:r>
              <a:rPr lang="de-DE" sz="1200" dirty="0"/>
              <a:t> so </a:t>
            </a:r>
            <a:r>
              <a:rPr lang="de-DE" sz="1200" dirty="0" err="1"/>
              <a:t>far</a:t>
            </a:r>
            <a:r>
              <a:rPr lang="de-DE" sz="1200" dirty="0"/>
              <a:t>.</a:t>
            </a:r>
          </a:p>
          <a:p>
            <a:endParaRPr lang="de-DE" sz="1200" dirty="0"/>
          </a:p>
          <a:p>
            <a:r>
              <a:rPr lang="de-DE" sz="1200" b="1" dirty="0"/>
              <a:t>PLC </a:t>
            </a:r>
            <a:r>
              <a:rPr lang="de-DE" sz="1200" b="1" dirty="0" err="1"/>
              <a:t>companies</a:t>
            </a:r>
            <a:r>
              <a:rPr lang="de-DE" sz="1200" b="1" dirty="0"/>
              <a:t>:</a:t>
            </a:r>
          </a:p>
          <a:p>
            <a:r>
              <a:rPr lang="de-DE" sz="1200" dirty="0"/>
              <a:t>The </a:t>
            </a:r>
            <a:r>
              <a:rPr lang="de-DE" sz="1200" dirty="0" err="1"/>
              <a:t>world</a:t>
            </a:r>
            <a:r>
              <a:rPr lang="de-DE" sz="1200" dirty="0"/>
              <a:t> </a:t>
            </a:r>
            <a:r>
              <a:rPr lang="de-DE" sz="1200" dirty="0" err="1"/>
              <a:t>market</a:t>
            </a:r>
            <a:r>
              <a:rPr lang="de-DE" sz="1200" dirty="0"/>
              <a:t> </a:t>
            </a:r>
            <a:r>
              <a:rPr lang="de-DE" sz="1200" dirty="0" err="1"/>
              <a:t>leaders</a:t>
            </a:r>
            <a:r>
              <a:rPr lang="de-DE" sz="1200" dirty="0"/>
              <a:t> </a:t>
            </a:r>
            <a:r>
              <a:rPr lang="de-DE" sz="1200" dirty="0" err="1"/>
              <a:t>support</a:t>
            </a:r>
            <a:r>
              <a:rPr lang="de-DE" sz="1200" dirty="0"/>
              <a:t> </a:t>
            </a:r>
            <a:r>
              <a:rPr lang="de-DE" sz="1200" dirty="0" err="1"/>
              <a:t>the</a:t>
            </a:r>
            <a:r>
              <a:rPr lang="de-DE" sz="1200" dirty="0"/>
              <a:t> IO-Link </a:t>
            </a:r>
            <a:r>
              <a:rPr lang="de-DE" sz="1200" dirty="0" err="1"/>
              <a:t>technology</a:t>
            </a:r>
            <a:r>
              <a:rPr lang="de-DE" sz="1200" dirty="0"/>
              <a:t> via </a:t>
            </a:r>
            <a:r>
              <a:rPr lang="de-DE" sz="1200" dirty="0" err="1"/>
              <a:t>their</a:t>
            </a:r>
            <a:r>
              <a:rPr lang="de-DE" sz="1200" dirty="0"/>
              <a:t> </a:t>
            </a:r>
            <a:r>
              <a:rPr lang="de-DE" sz="1200" dirty="0" err="1"/>
              <a:t>fieldbusesor</a:t>
            </a:r>
            <a:r>
              <a:rPr lang="de-DE" sz="1200" dirty="0"/>
              <a:t> </a:t>
            </a:r>
            <a:r>
              <a:rPr lang="de-DE" sz="1200" dirty="0" err="1"/>
              <a:t>dedicated</a:t>
            </a:r>
            <a:r>
              <a:rPr lang="de-DE" sz="1200" dirty="0"/>
              <a:t> PLC </a:t>
            </a:r>
            <a:r>
              <a:rPr lang="de-DE" sz="1200" dirty="0" err="1"/>
              <a:t>master</a:t>
            </a:r>
            <a:r>
              <a:rPr lang="de-DE" sz="1200" dirty="0"/>
              <a:t> </a:t>
            </a:r>
            <a:r>
              <a:rPr lang="de-DE" sz="1200" dirty="0" err="1"/>
              <a:t>cards</a:t>
            </a:r>
            <a:r>
              <a:rPr lang="de-DE" sz="1200" dirty="0"/>
              <a:t>.</a:t>
            </a:r>
          </a:p>
          <a:p>
            <a:endParaRPr lang="de-DE" sz="1200" dirty="0"/>
          </a:p>
          <a:p>
            <a:endParaRPr lang="de-DE" sz="1200" dirty="0"/>
          </a:p>
          <a:p>
            <a:endParaRPr lang="de-DE" sz="1200" dirty="0"/>
          </a:p>
          <a:p>
            <a:r>
              <a:rPr lang="de-DE" sz="1200" b="1" dirty="0" err="1"/>
              <a:t>Supported</a:t>
            </a:r>
            <a:r>
              <a:rPr lang="de-DE" sz="1200" b="1" dirty="0"/>
              <a:t> </a:t>
            </a:r>
            <a:r>
              <a:rPr lang="de-DE" sz="1200" b="1" dirty="0" err="1"/>
              <a:t>Fieldbuses</a:t>
            </a:r>
            <a:r>
              <a:rPr lang="de-DE" sz="1200" b="1" dirty="0"/>
              <a:t>:</a:t>
            </a:r>
          </a:p>
          <a:p>
            <a:r>
              <a:rPr lang="de-DE" sz="1200" dirty="0" err="1"/>
              <a:t>Among</a:t>
            </a:r>
            <a:r>
              <a:rPr lang="de-DE" sz="1200" dirty="0"/>
              <a:t> </a:t>
            </a:r>
            <a:r>
              <a:rPr lang="de-DE" sz="1200" dirty="0" err="1"/>
              <a:t>others</a:t>
            </a:r>
            <a:r>
              <a:rPr lang="de-DE" sz="1200" dirty="0"/>
              <a:t> </a:t>
            </a:r>
            <a:r>
              <a:rPr lang="de-DE" sz="1200" dirty="0" err="1"/>
              <a:t>there</a:t>
            </a:r>
            <a:r>
              <a:rPr lang="de-DE" sz="1200" dirty="0"/>
              <a:t> </a:t>
            </a:r>
            <a:r>
              <a:rPr lang="de-DE" sz="1200" dirty="0" err="1"/>
              <a:t>are</a:t>
            </a:r>
            <a:r>
              <a:rPr lang="de-DE" sz="1200" dirty="0"/>
              <a:t> </a:t>
            </a:r>
            <a:r>
              <a:rPr lang="de-DE" sz="1200" dirty="0" err="1"/>
              <a:t>many</a:t>
            </a:r>
            <a:r>
              <a:rPr lang="de-DE" sz="1200" dirty="0"/>
              <a:t> IO-Link </a:t>
            </a:r>
            <a:r>
              <a:rPr lang="de-DE" sz="1200" dirty="0" err="1"/>
              <a:t>master</a:t>
            </a:r>
            <a:r>
              <a:rPr lang="de-DE" sz="1200" dirty="0"/>
              <a:t> </a:t>
            </a:r>
            <a:r>
              <a:rPr lang="de-DE" sz="1200" dirty="0" err="1"/>
              <a:t>modules</a:t>
            </a:r>
            <a:r>
              <a:rPr lang="de-DE" sz="1200" dirty="0"/>
              <a:t> </a:t>
            </a:r>
            <a:r>
              <a:rPr lang="de-DE" sz="1200" dirty="0" err="1"/>
              <a:t>available</a:t>
            </a:r>
            <a:r>
              <a:rPr lang="de-DE" sz="1200" dirty="0"/>
              <a:t> </a:t>
            </a:r>
            <a:r>
              <a:rPr lang="de-DE" sz="1200" dirty="0" err="1"/>
              <a:t>for</a:t>
            </a:r>
            <a:r>
              <a:rPr lang="de-DE" sz="1200" dirty="0"/>
              <a:t> </a:t>
            </a:r>
            <a:r>
              <a:rPr lang="de-DE" sz="1200" dirty="0" err="1"/>
              <a:t>CANopen</a:t>
            </a:r>
            <a:r>
              <a:rPr lang="de-DE" sz="1200" dirty="0"/>
              <a:t>, </a:t>
            </a:r>
            <a:r>
              <a:rPr lang="de-DE" sz="1200" dirty="0" err="1"/>
              <a:t>Devicenet</a:t>
            </a:r>
            <a:r>
              <a:rPr lang="de-DE" sz="1200" dirty="0"/>
              <a:t>, CC-Link, </a:t>
            </a:r>
            <a:r>
              <a:rPr lang="de-DE" sz="1200" dirty="0" err="1"/>
              <a:t>Sercos</a:t>
            </a:r>
            <a:r>
              <a:rPr lang="de-DE" sz="1200" dirty="0"/>
              <a:t> III, Powerlink,</a:t>
            </a:r>
          </a:p>
          <a:p>
            <a:endParaRPr lang="de-DE" sz="1200" dirty="0"/>
          </a:p>
          <a:p>
            <a:endParaRPr lang="de-DE" sz="1200" dirty="0"/>
          </a:p>
          <a:p>
            <a:endParaRPr lang="de-DE" sz="1200" dirty="0"/>
          </a:p>
          <a:p>
            <a:r>
              <a:rPr lang="de-DE" sz="1200" b="1" dirty="0" err="1"/>
              <a:t>Actuator</a:t>
            </a:r>
            <a:r>
              <a:rPr lang="de-DE" sz="1200" b="1" dirty="0"/>
              <a:t> </a:t>
            </a:r>
            <a:r>
              <a:rPr lang="de-DE" sz="1200" b="1" dirty="0" err="1"/>
              <a:t>companies</a:t>
            </a:r>
            <a:r>
              <a:rPr lang="de-DE" sz="1200" b="1" dirty="0"/>
              <a:t>:</a:t>
            </a:r>
          </a:p>
          <a:p>
            <a:r>
              <a:rPr lang="de-DE" sz="1200" dirty="0" err="1"/>
              <a:t>From</a:t>
            </a:r>
            <a:r>
              <a:rPr lang="de-DE" sz="1200" dirty="0"/>
              <a:t> </a:t>
            </a:r>
            <a:r>
              <a:rPr lang="de-DE" sz="1200" dirty="0" err="1"/>
              <a:t>motor</a:t>
            </a:r>
            <a:r>
              <a:rPr lang="de-DE" sz="1200" dirty="0"/>
              <a:t> </a:t>
            </a:r>
            <a:r>
              <a:rPr lang="de-DE" sz="1200" dirty="0" err="1"/>
              <a:t>starters</a:t>
            </a:r>
            <a:r>
              <a:rPr lang="de-DE" sz="1200" dirty="0"/>
              <a:t> </a:t>
            </a:r>
            <a:r>
              <a:rPr lang="de-DE" sz="1200" dirty="0" err="1"/>
              <a:t>to</a:t>
            </a:r>
            <a:r>
              <a:rPr lang="de-DE" sz="1200" dirty="0"/>
              <a:t> </a:t>
            </a:r>
            <a:r>
              <a:rPr lang="de-DE" sz="1200" dirty="0" err="1"/>
              <a:t>pneumatic</a:t>
            </a:r>
            <a:r>
              <a:rPr lang="de-DE" sz="1200" dirty="0"/>
              <a:t> </a:t>
            </a:r>
            <a:r>
              <a:rPr lang="de-DE" sz="1200" dirty="0" err="1"/>
              <a:t>modules</a:t>
            </a:r>
            <a:r>
              <a:rPr lang="de-DE" sz="1200" dirty="0"/>
              <a:t> </a:t>
            </a:r>
            <a:r>
              <a:rPr lang="de-DE" sz="1200" dirty="0" err="1"/>
              <a:t>many</a:t>
            </a:r>
            <a:r>
              <a:rPr lang="de-DE" sz="1200" dirty="0"/>
              <a:t> </a:t>
            </a:r>
            <a:r>
              <a:rPr lang="de-DE" sz="1200" dirty="0" err="1"/>
              <a:t>actuator</a:t>
            </a:r>
            <a:r>
              <a:rPr lang="de-DE" sz="1200" dirty="0"/>
              <a:t> </a:t>
            </a:r>
            <a:r>
              <a:rPr lang="de-DE" sz="1200" dirty="0" err="1"/>
              <a:t>companies</a:t>
            </a:r>
            <a:r>
              <a:rPr lang="de-DE" sz="1200" dirty="0"/>
              <a:t> </a:t>
            </a:r>
            <a:r>
              <a:rPr lang="de-DE" sz="1200" dirty="0" err="1"/>
              <a:t>work</a:t>
            </a:r>
            <a:r>
              <a:rPr lang="de-DE" sz="1200" dirty="0"/>
              <a:t> </a:t>
            </a:r>
            <a:r>
              <a:rPr lang="de-DE" sz="1200" dirty="0" err="1"/>
              <a:t>with</a:t>
            </a:r>
            <a:r>
              <a:rPr lang="de-DE" sz="1200" dirty="0"/>
              <a:t> IO-Link:</a:t>
            </a:r>
          </a:p>
          <a:p>
            <a:endParaRPr lang="de-DE" sz="1200" dirty="0"/>
          </a:p>
          <a:p>
            <a:endParaRPr lang="de-DE" sz="1200" dirty="0"/>
          </a:p>
          <a:p>
            <a:endParaRPr lang="de-DE" sz="1200" dirty="0"/>
          </a:p>
          <a:p>
            <a:r>
              <a:rPr lang="de-DE" sz="1200" b="1" dirty="0"/>
              <a:t>Integrators &amp; Chip </a:t>
            </a:r>
            <a:r>
              <a:rPr lang="de-DE" sz="1200" b="1" dirty="0" err="1"/>
              <a:t>manufacturers</a:t>
            </a:r>
            <a:r>
              <a:rPr lang="de-DE" sz="1200" b="1" dirty="0"/>
              <a:t>:</a:t>
            </a:r>
          </a:p>
          <a:p>
            <a:r>
              <a:rPr lang="de-DE" sz="1200" dirty="0" err="1"/>
              <a:t>For</a:t>
            </a:r>
            <a:r>
              <a:rPr lang="de-DE" sz="1200" dirty="0"/>
              <a:t> </a:t>
            </a:r>
            <a:r>
              <a:rPr lang="de-DE" sz="1200" dirty="0" err="1"/>
              <a:t>more</a:t>
            </a:r>
            <a:r>
              <a:rPr lang="de-DE" sz="1200" dirty="0"/>
              <a:t> </a:t>
            </a:r>
            <a:r>
              <a:rPr lang="de-DE" sz="1200" dirty="0" err="1"/>
              <a:t>refer</a:t>
            </a:r>
            <a:r>
              <a:rPr lang="de-DE" sz="1200" dirty="0"/>
              <a:t> </a:t>
            </a:r>
            <a:r>
              <a:rPr lang="de-DE" sz="1200" dirty="0" err="1"/>
              <a:t>to</a:t>
            </a:r>
            <a:r>
              <a:rPr lang="de-DE" sz="1200" dirty="0"/>
              <a:t> IO-Link.com.</a:t>
            </a:r>
          </a:p>
        </p:txBody>
      </p:sp>
      <p:pic>
        <p:nvPicPr>
          <p:cNvPr id="3" name="Grafik 2"/>
          <p:cNvPicPr>
            <a:picLocks noChangeAspect="1"/>
          </p:cNvPicPr>
          <p:nvPr/>
        </p:nvPicPr>
        <p:blipFill>
          <a:blip r:embed="rId3"/>
          <a:stretch>
            <a:fillRect/>
          </a:stretch>
        </p:blipFill>
        <p:spPr>
          <a:xfrm>
            <a:off x="1988272" y="3635325"/>
            <a:ext cx="1504950" cy="409575"/>
          </a:xfrm>
          <a:prstGeom prst="rect">
            <a:avLst/>
          </a:prstGeom>
        </p:spPr>
      </p:pic>
      <p:pic>
        <p:nvPicPr>
          <p:cNvPr id="4" name="Grafik 3"/>
          <p:cNvPicPr>
            <a:picLocks noChangeAspect="1"/>
          </p:cNvPicPr>
          <p:nvPr/>
        </p:nvPicPr>
        <p:blipFill>
          <a:blip r:embed="rId4"/>
          <a:stretch>
            <a:fillRect/>
          </a:stretch>
        </p:blipFill>
        <p:spPr>
          <a:xfrm>
            <a:off x="3582788" y="3614086"/>
            <a:ext cx="1552575" cy="476250"/>
          </a:xfrm>
          <a:prstGeom prst="rect">
            <a:avLst/>
          </a:prstGeom>
        </p:spPr>
      </p:pic>
      <p:pic>
        <p:nvPicPr>
          <p:cNvPr id="5" name="Grafik 4"/>
          <p:cNvPicPr>
            <a:picLocks noChangeAspect="1"/>
          </p:cNvPicPr>
          <p:nvPr/>
        </p:nvPicPr>
        <p:blipFill>
          <a:blip r:embed="rId5"/>
          <a:stretch>
            <a:fillRect/>
          </a:stretch>
        </p:blipFill>
        <p:spPr>
          <a:xfrm>
            <a:off x="5329090" y="3624165"/>
            <a:ext cx="1459014" cy="445567"/>
          </a:xfrm>
          <a:prstGeom prst="rect">
            <a:avLst/>
          </a:prstGeom>
        </p:spPr>
      </p:pic>
      <p:pic>
        <p:nvPicPr>
          <p:cNvPr id="6" name="Grafik 5"/>
          <p:cNvPicPr>
            <a:picLocks noChangeAspect="1"/>
          </p:cNvPicPr>
          <p:nvPr/>
        </p:nvPicPr>
        <p:blipFill>
          <a:blip r:embed="rId6"/>
          <a:stretch>
            <a:fillRect/>
          </a:stretch>
        </p:blipFill>
        <p:spPr>
          <a:xfrm>
            <a:off x="6910009" y="3717307"/>
            <a:ext cx="1552575" cy="352425"/>
          </a:xfrm>
          <a:prstGeom prst="rect">
            <a:avLst/>
          </a:prstGeom>
        </p:spPr>
      </p:pic>
      <p:pic>
        <p:nvPicPr>
          <p:cNvPr id="7" name="Grafik 6"/>
          <p:cNvPicPr>
            <a:picLocks noChangeAspect="1"/>
          </p:cNvPicPr>
          <p:nvPr/>
        </p:nvPicPr>
        <p:blipFill>
          <a:blip r:embed="rId7"/>
          <a:stretch>
            <a:fillRect/>
          </a:stretch>
        </p:blipFill>
        <p:spPr>
          <a:xfrm>
            <a:off x="8584488" y="3627118"/>
            <a:ext cx="905335" cy="521056"/>
          </a:xfrm>
          <a:prstGeom prst="rect">
            <a:avLst/>
          </a:prstGeom>
        </p:spPr>
      </p:pic>
      <p:pic>
        <p:nvPicPr>
          <p:cNvPr id="8" name="Grafik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52938" y="4340806"/>
            <a:ext cx="1540285" cy="770143"/>
          </a:xfrm>
          <a:prstGeom prst="rect">
            <a:avLst/>
          </a:prstGeom>
        </p:spPr>
      </p:pic>
      <p:pic>
        <p:nvPicPr>
          <p:cNvPr id="10" name="Grafik 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82787" y="4476586"/>
            <a:ext cx="1616230" cy="498580"/>
          </a:xfrm>
          <a:prstGeom prst="rect">
            <a:avLst/>
          </a:prstGeom>
        </p:spPr>
      </p:pic>
      <p:pic>
        <p:nvPicPr>
          <p:cNvPr id="11" name="Grafik 1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73835" y="4427386"/>
            <a:ext cx="1250949" cy="661440"/>
          </a:xfrm>
          <a:prstGeom prst="rect">
            <a:avLst/>
          </a:prstGeom>
        </p:spPr>
      </p:pic>
      <p:pic>
        <p:nvPicPr>
          <p:cNvPr id="13" name="Grafik 1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524783" y="4476837"/>
            <a:ext cx="1312146" cy="566977"/>
          </a:xfrm>
          <a:prstGeom prst="rect">
            <a:avLst/>
          </a:prstGeom>
        </p:spPr>
      </p:pic>
      <p:pic>
        <p:nvPicPr>
          <p:cNvPr id="14" name="Grafik 1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936942" y="4666596"/>
            <a:ext cx="1359464" cy="263352"/>
          </a:xfrm>
          <a:prstGeom prst="rect">
            <a:avLst/>
          </a:prstGeom>
        </p:spPr>
      </p:pic>
      <p:pic>
        <p:nvPicPr>
          <p:cNvPr id="15" name="Grafik 1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296407" y="4426859"/>
            <a:ext cx="913279" cy="616954"/>
          </a:xfrm>
          <a:prstGeom prst="rect">
            <a:avLst/>
          </a:prstGeom>
        </p:spPr>
      </p:pic>
      <p:pic>
        <p:nvPicPr>
          <p:cNvPr id="17" name="Grafik 16"/>
          <p:cNvPicPr>
            <a:picLocks noChangeAspect="1"/>
          </p:cNvPicPr>
          <p:nvPr/>
        </p:nvPicPr>
        <p:blipFill>
          <a:blip r:embed="rId6"/>
          <a:stretch>
            <a:fillRect/>
          </a:stretch>
        </p:blipFill>
        <p:spPr>
          <a:xfrm>
            <a:off x="1964460" y="5464005"/>
            <a:ext cx="1552575" cy="352425"/>
          </a:xfrm>
          <a:prstGeom prst="rect">
            <a:avLst/>
          </a:prstGeom>
        </p:spPr>
      </p:pic>
      <p:pic>
        <p:nvPicPr>
          <p:cNvPr id="18" name="Grafik 17"/>
          <p:cNvPicPr>
            <a:picLocks noChangeAspect="1"/>
          </p:cNvPicPr>
          <p:nvPr/>
        </p:nvPicPr>
        <p:blipFill>
          <a:blip r:embed="rId14"/>
          <a:stretch>
            <a:fillRect/>
          </a:stretch>
        </p:blipFill>
        <p:spPr>
          <a:xfrm>
            <a:off x="3692018" y="5420116"/>
            <a:ext cx="1045138" cy="481314"/>
          </a:xfrm>
          <a:prstGeom prst="rect">
            <a:avLst/>
          </a:prstGeom>
        </p:spPr>
      </p:pic>
      <p:pic>
        <p:nvPicPr>
          <p:cNvPr id="19" name="Grafik 18"/>
          <p:cNvPicPr>
            <a:picLocks noChangeAspect="1"/>
          </p:cNvPicPr>
          <p:nvPr/>
        </p:nvPicPr>
        <p:blipFill>
          <a:blip r:embed="rId15"/>
          <a:stretch>
            <a:fillRect/>
          </a:stretch>
        </p:blipFill>
        <p:spPr>
          <a:xfrm>
            <a:off x="4912141" y="5464005"/>
            <a:ext cx="1552575" cy="409575"/>
          </a:xfrm>
          <a:prstGeom prst="rect">
            <a:avLst/>
          </a:prstGeom>
        </p:spPr>
      </p:pic>
      <p:pic>
        <p:nvPicPr>
          <p:cNvPr id="20" name="Grafik 19"/>
          <p:cNvPicPr>
            <a:picLocks noChangeAspect="1"/>
          </p:cNvPicPr>
          <p:nvPr/>
        </p:nvPicPr>
        <p:blipFill>
          <a:blip r:embed="rId16"/>
          <a:stretch>
            <a:fillRect/>
          </a:stretch>
        </p:blipFill>
        <p:spPr>
          <a:xfrm>
            <a:off x="6582623" y="5441306"/>
            <a:ext cx="1433635" cy="463309"/>
          </a:xfrm>
          <a:prstGeom prst="rect">
            <a:avLst/>
          </a:prstGeom>
        </p:spPr>
      </p:pic>
      <p:pic>
        <p:nvPicPr>
          <p:cNvPr id="21" name="Grafik 20"/>
          <p:cNvPicPr>
            <a:picLocks noChangeAspect="1"/>
          </p:cNvPicPr>
          <p:nvPr/>
        </p:nvPicPr>
        <p:blipFill>
          <a:blip r:embed="rId17"/>
          <a:stretch>
            <a:fillRect/>
          </a:stretch>
        </p:blipFill>
        <p:spPr>
          <a:xfrm>
            <a:off x="8129011" y="5429641"/>
            <a:ext cx="1005470" cy="452794"/>
          </a:xfrm>
          <a:prstGeom prst="rect">
            <a:avLst/>
          </a:prstGeom>
        </p:spPr>
      </p:pic>
      <p:sp>
        <p:nvSpPr>
          <p:cNvPr id="24" name="Foliennummernplatzhalter 23"/>
          <p:cNvSpPr>
            <a:spLocks noGrp="1"/>
          </p:cNvSpPr>
          <p:nvPr>
            <p:ph type="sldNum" sz="quarter" idx="12"/>
          </p:nvPr>
        </p:nvSpPr>
        <p:spPr/>
        <p:txBody>
          <a:bodyPr/>
          <a:lstStyle/>
          <a:p>
            <a:fld id="{09AD34A2-EE0D-B74D-A5FF-4EBBE21DF867}" type="slidenum">
              <a:rPr lang="de-DE" smtClean="0"/>
              <a:t>19</a:t>
            </a:fld>
            <a:endParaRPr lang="de-DE"/>
          </a:p>
        </p:txBody>
      </p:sp>
      <p:pic>
        <p:nvPicPr>
          <p:cNvPr id="25" name="Grafik 24"/>
          <p:cNvPicPr>
            <a:picLocks noChangeAspect="1"/>
          </p:cNvPicPr>
          <p:nvPr/>
        </p:nvPicPr>
        <p:blipFill>
          <a:blip r:embed="rId18"/>
          <a:stretch>
            <a:fillRect/>
          </a:stretch>
        </p:blipFill>
        <p:spPr>
          <a:xfrm>
            <a:off x="4060781" y="5965450"/>
            <a:ext cx="1004887" cy="529708"/>
          </a:xfrm>
          <a:prstGeom prst="rect">
            <a:avLst/>
          </a:prstGeom>
        </p:spPr>
      </p:pic>
      <p:pic>
        <p:nvPicPr>
          <p:cNvPr id="26" name="Grafik 25"/>
          <p:cNvPicPr>
            <a:picLocks noChangeAspect="1"/>
          </p:cNvPicPr>
          <p:nvPr/>
        </p:nvPicPr>
        <p:blipFill>
          <a:blip r:embed="rId19"/>
          <a:stretch>
            <a:fillRect/>
          </a:stretch>
        </p:blipFill>
        <p:spPr>
          <a:xfrm>
            <a:off x="5100638" y="6062663"/>
            <a:ext cx="1228725" cy="409575"/>
          </a:xfrm>
          <a:prstGeom prst="rect">
            <a:avLst/>
          </a:prstGeom>
        </p:spPr>
      </p:pic>
      <p:pic>
        <p:nvPicPr>
          <p:cNvPr id="27" name="Grafik 26"/>
          <p:cNvPicPr>
            <a:picLocks noChangeAspect="1"/>
          </p:cNvPicPr>
          <p:nvPr/>
        </p:nvPicPr>
        <p:blipFill>
          <a:blip r:embed="rId20"/>
          <a:stretch>
            <a:fillRect/>
          </a:stretch>
        </p:blipFill>
        <p:spPr>
          <a:xfrm>
            <a:off x="8546543" y="6034822"/>
            <a:ext cx="1247775" cy="266700"/>
          </a:xfrm>
          <a:prstGeom prst="rect">
            <a:avLst/>
          </a:prstGeom>
        </p:spPr>
      </p:pic>
      <p:pic>
        <p:nvPicPr>
          <p:cNvPr id="28" name="Grafik 27"/>
          <p:cNvPicPr>
            <a:picLocks noChangeAspect="1"/>
          </p:cNvPicPr>
          <p:nvPr/>
        </p:nvPicPr>
        <p:blipFill>
          <a:blip r:embed="rId21"/>
          <a:stretch>
            <a:fillRect/>
          </a:stretch>
        </p:blipFill>
        <p:spPr>
          <a:xfrm>
            <a:off x="7231937" y="6005513"/>
            <a:ext cx="1257300" cy="466725"/>
          </a:xfrm>
          <a:prstGeom prst="rect">
            <a:avLst/>
          </a:prstGeom>
        </p:spPr>
      </p:pic>
      <p:pic>
        <p:nvPicPr>
          <p:cNvPr id="29" name="Grafik 28"/>
          <p:cNvPicPr>
            <a:picLocks noChangeAspect="1"/>
          </p:cNvPicPr>
          <p:nvPr/>
        </p:nvPicPr>
        <p:blipFill>
          <a:blip r:embed="rId22"/>
          <a:stretch>
            <a:fillRect/>
          </a:stretch>
        </p:blipFill>
        <p:spPr>
          <a:xfrm>
            <a:off x="9192328" y="5420462"/>
            <a:ext cx="1200150" cy="514350"/>
          </a:xfrm>
          <a:prstGeom prst="rect">
            <a:avLst/>
          </a:prstGeom>
        </p:spPr>
      </p:pic>
      <p:pic>
        <p:nvPicPr>
          <p:cNvPr id="30" name="Grafik 29"/>
          <p:cNvPicPr>
            <a:picLocks noChangeAspect="1"/>
          </p:cNvPicPr>
          <p:nvPr/>
        </p:nvPicPr>
        <p:blipFill>
          <a:blip r:embed="rId23"/>
          <a:stretch>
            <a:fillRect/>
          </a:stretch>
        </p:blipFill>
        <p:spPr>
          <a:xfrm>
            <a:off x="6392908" y="5989565"/>
            <a:ext cx="821069" cy="517480"/>
          </a:xfrm>
          <a:prstGeom prst="rect">
            <a:avLst/>
          </a:prstGeom>
        </p:spPr>
      </p:pic>
      <p:pic>
        <p:nvPicPr>
          <p:cNvPr id="31" name="Grafik 30"/>
          <p:cNvPicPr>
            <a:picLocks noChangeAspect="1"/>
          </p:cNvPicPr>
          <p:nvPr/>
        </p:nvPicPr>
        <p:blipFill>
          <a:blip r:embed="rId24"/>
          <a:stretch>
            <a:fillRect/>
          </a:stretch>
        </p:blipFill>
        <p:spPr>
          <a:xfrm>
            <a:off x="9296407" y="6270336"/>
            <a:ext cx="1228725" cy="342900"/>
          </a:xfrm>
          <a:prstGeom prst="rect">
            <a:avLst/>
          </a:prstGeom>
        </p:spPr>
      </p:pic>
      <p:pic>
        <p:nvPicPr>
          <p:cNvPr id="33" name="Grafik 32"/>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9019923" y="1527168"/>
            <a:ext cx="774395" cy="774395"/>
          </a:xfrm>
          <a:prstGeom prst="rect">
            <a:avLst/>
          </a:prstGeom>
        </p:spPr>
      </p:pic>
    </p:spTree>
    <p:extLst>
      <p:ext uri="{BB962C8B-B14F-4D97-AF65-F5344CB8AC3E}">
        <p14:creationId xmlns:p14="http://schemas.microsoft.com/office/powerpoint/2010/main" val="30021409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de-DE" smtClean="0"/>
              <a:t>pw 12.2015</a:t>
            </a:r>
            <a:endParaRPr lang="de-DE" dirty="0"/>
          </a:p>
        </p:txBody>
      </p:sp>
      <p:sp>
        <p:nvSpPr>
          <p:cNvPr id="5" name="Slide Number Placeholder 4"/>
          <p:cNvSpPr>
            <a:spLocks noGrp="1"/>
          </p:cNvSpPr>
          <p:nvPr>
            <p:ph type="sldNum" sz="quarter" idx="12"/>
          </p:nvPr>
        </p:nvSpPr>
        <p:spPr/>
        <p:txBody>
          <a:bodyPr/>
          <a:lstStyle/>
          <a:p>
            <a:fld id="{09AD34A2-EE0D-B74D-A5FF-4EBBE21DF867}" type="slidenum">
              <a:rPr lang="de-DE" smtClean="0"/>
              <a:t>2</a:t>
            </a:fld>
            <a:endParaRPr lang="de-DE"/>
          </a:p>
        </p:txBody>
      </p:sp>
      <p:pic>
        <p:nvPicPr>
          <p:cNvPr id="6" name="Picture 2" descr="http://www.uberb2b.com/wp-content/uploads/2013/01/Screenshot_1_22_13_2_45_PM.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22966" y="1341438"/>
            <a:ext cx="7369175" cy="498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076136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de-DE" smtClean="0"/>
              <a:t>pw 12.2015</a:t>
            </a:r>
            <a:endParaRPr lang="de-DE" dirty="0"/>
          </a:p>
        </p:txBody>
      </p:sp>
      <p:sp>
        <p:nvSpPr>
          <p:cNvPr id="5" name="Slide Number Placeholder 4"/>
          <p:cNvSpPr>
            <a:spLocks noGrp="1"/>
          </p:cNvSpPr>
          <p:nvPr>
            <p:ph type="sldNum" sz="quarter" idx="12"/>
          </p:nvPr>
        </p:nvSpPr>
        <p:spPr/>
        <p:txBody>
          <a:bodyPr/>
          <a:lstStyle/>
          <a:p>
            <a:fld id="{09AD34A2-EE0D-B74D-A5FF-4EBBE21DF867}" type="slidenum">
              <a:rPr lang="de-DE" smtClean="0"/>
              <a:t>20</a:t>
            </a:fld>
            <a:endParaRPr lang="de-DE"/>
          </a:p>
        </p:txBody>
      </p:sp>
      <p:sp>
        <p:nvSpPr>
          <p:cNvPr id="6" name="Rectangle 5"/>
          <p:cNvSpPr/>
          <p:nvPr/>
        </p:nvSpPr>
        <p:spPr>
          <a:xfrm>
            <a:off x="3022600" y="4372207"/>
            <a:ext cx="5996361" cy="400110"/>
          </a:xfrm>
          <a:prstGeom prst="rect">
            <a:avLst/>
          </a:prstGeom>
        </p:spPr>
        <p:txBody>
          <a:bodyPr wrap="square">
            <a:spAutoFit/>
          </a:bodyPr>
          <a:lstStyle/>
          <a:p>
            <a:pPr marL="342900" indent="-342900">
              <a:buClr>
                <a:srgbClr val="FFC000"/>
              </a:buClr>
              <a:buFont typeface="Wingdings" panose="05000000000000000000" pitchFamily="2" charset="2"/>
              <a:buChar char="ü"/>
            </a:pPr>
            <a:r>
              <a:rPr lang="en-US" sz="2000" dirty="0"/>
              <a:t>IO-Link implementation offers no software barriers</a:t>
            </a:r>
          </a:p>
        </p:txBody>
      </p:sp>
      <p:sp>
        <p:nvSpPr>
          <p:cNvPr id="7" name="Rectangle 6"/>
          <p:cNvSpPr/>
          <p:nvPr/>
        </p:nvSpPr>
        <p:spPr>
          <a:xfrm>
            <a:off x="3022600" y="2822807"/>
            <a:ext cx="5981700" cy="400110"/>
          </a:xfrm>
          <a:prstGeom prst="rect">
            <a:avLst/>
          </a:prstGeom>
        </p:spPr>
        <p:txBody>
          <a:bodyPr wrap="square">
            <a:spAutoFit/>
          </a:bodyPr>
          <a:lstStyle/>
          <a:p>
            <a:pPr marL="342900" indent="-342900">
              <a:buClr>
                <a:srgbClr val="FFC000"/>
              </a:buClr>
              <a:buFont typeface="Wingdings" panose="05000000000000000000" pitchFamily="2" charset="2"/>
              <a:buChar char="ü"/>
            </a:pPr>
            <a:r>
              <a:rPr lang="en-US" sz="2000" dirty="0"/>
              <a:t>IO-Link </a:t>
            </a:r>
            <a:r>
              <a:rPr lang="en-US" sz="2000" dirty="0" smtClean="0"/>
              <a:t>doesn’t add additional cost to sensors</a:t>
            </a:r>
            <a:endParaRPr lang="en-US" sz="2000" dirty="0"/>
          </a:p>
        </p:txBody>
      </p:sp>
      <p:sp>
        <p:nvSpPr>
          <p:cNvPr id="8" name="Rectangle 7"/>
          <p:cNvSpPr/>
          <p:nvPr/>
        </p:nvSpPr>
        <p:spPr>
          <a:xfrm>
            <a:off x="3022600" y="3597507"/>
            <a:ext cx="5952378" cy="400110"/>
          </a:xfrm>
          <a:prstGeom prst="rect">
            <a:avLst/>
          </a:prstGeom>
        </p:spPr>
        <p:txBody>
          <a:bodyPr wrap="square">
            <a:spAutoFit/>
          </a:bodyPr>
          <a:lstStyle/>
          <a:p>
            <a:pPr marL="342900" indent="-342900">
              <a:buClr>
                <a:srgbClr val="FFC000"/>
              </a:buClr>
              <a:buFont typeface="Wingdings" panose="05000000000000000000" pitchFamily="2" charset="2"/>
              <a:buChar char="ü"/>
            </a:pPr>
            <a:r>
              <a:rPr lang="en-US" sz="2000" dirty="0" smtClean="0"/>
              <a:t>IO-Link isn’t complex to use</a:t>
            </a:r>
            <a:endParaRPr lang="en-US" sz="2000" dirty="0"/>
          </a:p>
        </p:txBody>
      </p:sp>
      <p:sp>
        <p:nvSpPr>
          <p:cNvPr id="9" name="Rectangle 8"/>
          <p:cNvSpPr/>
          <p:nvPr/>
        </p:nvSpPr>
        <p:spPr>
          <a:xfrm>
            <a:off x="3022600" y="1978197"/>
            <a:ext cx="5952378" cy="707886"/>
          </a:xfrm>
          <a:prstGeom prst="rect">
            <a:avLst/>
          </a:prstGeom>
        </p:spPr>
        <p:txBody>
          <a:bodyPr wrap="square">
            <a:spAutoFit/>
          </a:bodyPr>
          <a:lstStyle/>
          <a:p>
            <a:pPr marL="342900" indent="-342900">
              <a:buClr>
                <a:srgbClr val="FFC000"/>
              </a:buClr>
              <a:buFont typeface="Wingdings" panose="05000000000000000000" pitchFamily="2" charset="2"/>
              <a:buChar char="ü"/>
            </a:pPr>
            <a:r>
              <a:rPr lang="en-US" sz="2000" dirty="0" smtClean="0"/>
              <a:t>IO-Link uses the same cabling and controls structures as today</a:t>
            </a:r>
            <a:endParaRPr lang="en-US" sz="2000" dirty="0"/>
          </a:p>
        </p:txBody>
      </p:sp>
    </p:spTree>
    <p:extLst>
      <p:ext uri="{BB962C8B-B14F-4D97-AF65-F5344CB8AC3E}">
        <p14:creationId xmlns:p14="http://schemas.microsoft.com/office/powerpoint/2010/main" val="42585166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3936545"/>
          </a:xfrm>
        </p:spPr>
        <p:txBody>
          <a:bodyPr>
            <a:normAutofit/>
          </a:bodyPr>
          <a:lstStyle/>
          <a:p>
            <a:r>
              <a:rPr lang="en-IN" dirty="0" smtClean="0"/>
              <a:t>Overall Equipment Efficiency (OEE) </a:t>
            </a:r>
            <a:br>
              <a:rPr lang="en-IN" dirty="0" smtClean="0"/>
            </a:br>
            <a:r>
              <a:rPr lang="en-IN" dirty="0" smtClean="0"/>
              <a:t>= Material Availability X</a:t>
            </a:r>
            <a:br>
              <a:rPr lang="en-IN" dirty="0" smtClean="0"/>
            </a:br>
            <a:r>
              <a:rPr lang="en-IN" dirty="0" smtClean="0"/>
              <a:t>Machine Availability X</a:t>
            </a:r>
            <a:br>
              <a:rPr lang="en-IN" dirty="0" smtClean="0"/>
            </a:br>
            <a:r>
              <a:rPr lang="en-IN" dirty="0" smtClean="0"/>
              <a:t>Quality of production</a:t>
            </a:r>
            <a:endParaRPr lang="en-IN" dirty="0"/>
          </a:p>
        </p:txBody>
      </p:sp>
      <p:sp>
        <p:nvSpPr>
          <p:cNvPr id="4" name="Date Placeholder 3"/>
          <p:cNvSpPr>
            <a:spLocks noGrp="1"/>
          </p:cNvSpPr>
          <p:nvPr>
            <p:ph type="dt" sz="half" idx="10"/>
          </p:nvPr>
        </p:nvSpPr>
        <p:spPr/>
        <p:txBody>
          <a:bodyPr/>
          <a:lstStyle/>
          <a:p>
            <a:r>
              <a:rPr lang="de-DE" smtClean="0"/>
              <a:t>pw 12.2015</a:t>
            </a:r>
            <a:endParaRPr lang="de-DE" dirty="0"/>
          </a:p>
        </p:txBody>
      </p:sp>
      <p:sp>
        <p:nvSpPr>
          <p:cNvPr id="5" name="Slide Number Placeholder 4"/>
          <p:cNvSpPr>
            <a:spLocks noGrp="1"/>
          </p:cNvSpPr>
          <p:nvPr>
            <p:ph type="sldNum" sz="quarter" idx="12"/>
          </p:nvPr>
        </p:nvSpPr>
        <p:spPr/>
        <p:txBody>
          <a:bodyPr/>
          <a:lstStyle/>
          <a:p>
            <a:fld id="{09AD34A2-EE0D-B74D-A5FF-4EBBE21DF867}" type="slidenum">
              <a:rPr lang="de-DE" smtClean="0"/>
              <a:t>3</a:t>
            </a:fld>
            <a:endParaRPr lang="de-DE"/>
          </a:p>
        </p:txBody>
      </p:sp>
    </p:spTree>
    <p:extLst>
      <p:ext uri="{BB962C8B-B14F-4D97-AF65-F5344CB8AC3E}">
        <p14:creationId xmlns:p14="http://schemas.microsoft.com/office/powerpoint/2010/main" val="21278609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248229"/>
            <a:ext cx="10363200" cy="4862285"/>
          </a:xfrm>
        </p:spPr>
        <p:txBody>
          <a:bodyPr>
            <a:normAutofit/>
          </a:bodyPr>
          <a:lstStyle/>
          <a:p>
            <a:r>
              <a:rPr lang="en-IN" sz="3600" dirty="0" smtClean="0"/>
              <a:t>Machine Availability = Predicative Maintenance</a:t>
            </a:r>
            <a:br>
              <a:rPr lang="en-IN" sz="3600" dirty="0" smtClean="0"/>
            </a:br>
            <a:r>
              <a:rPr lang="en-IN" sz="3600" dirty="0" smtClean="0"/>
              <a:t>by monitoring Vital machine operating parameters</a:t>
            </a:r>
            <a:br>
              <a:rPr lang="en-IN" sz="3600" dirty="0" smtClean="0"/>
            </a:br>
            <a:r>
              <a:rPr lang="en-IN" sz="3600" dirty="0" smtClean="0"/>
              <a:t/>
            </a:r>
            <a:br>
              <a:rPr lang="en-IN" sz="3600" dirty="0" smtClean="0"/>
            </a:br>
            <a:r>
              <a:rPr lang="en-IN" sz="3600" dirty="0" smtClean="0"/>
              <a:t>Quality of Production = Minimum Rejection rate</a:t>
            </a:r>
            <a:br>
              <a:rPr lang="en-IN" sz="3600" dirty="0" smtClean="0"/>
            </a:br>
            <a:r>
              <a:rPr lang="en-IN" sz="3600" dirty="0" smtClean="0"/>
              <a:t>by monitoring process / machine operating parameters which affect Quality of production / work pieces</a:t>
            </a:r>
            <a:endParaRPr lang="en-IN" sz="3600" dirty="0"/>
          </a:p>
        </p:txBody>
      </p:sp>
      <p:sp>
        <p:nvSpPr>
          <p:cNvPr id="4" name="Date Placeholder 3"/>
          <p:cNvSpPr>
            <a:spLocks noGrp="1"/>
          </p:cNvSpPr>
          <p:nvPr>
            <p:ph type="dt" sz="half" idx="10"/>
          </p:nvPr>
        </p:nvSpPr>
        <p:spPr/>
        <p:txBody>
          <a:bodyPr/>
          <a:lstStyle/>
          <a:p>
            <a:r>
              <a:rPr lang="de-DE" smtClean="0"/>
              <a:t>pw 12.2015</a:t>
            </a:r>
            <a:endParaRPr lang="de-DE" dirty="0"/>
          </a:p>
        </p:txBody>
      </p:sp>
      <p:sp>
        <p:nvSpPr>
          <p:cNvPr id="5" name="Slide Number Placeholder 4"/>
          <p:cNvSpPr>
            <a:spLocks noGrp="1"/>
          </p:cNvSpPr>
          <p:nvPr>
            <p:ph type="sldNum" sz="quarter" idx="12"/>
          </p:nvPr>
        </p:nvSpPr>
        <p:spPr/>
        <p:txBody>
          <a:bodyPr/>
          <a:lstStyle/>
          <a:p>
            <a:fld id="{09AD34A2-EE0D-B74D-A5FF-4EBBE21DF867}" type="slidenum">
              <a:rPr lang="de-DE" smtClean="0"/>
              <a:t>4</a:t>
            </a:fld>
            <a:endParaRPr lang="de-DE"/>
          </a:p>
        </p:txBody>
      </p:sp>
    </p:spTree>
    <p:extLst>
      <p:ext uri="{BB962C8B-B14F-4D97-AF65-F5344CB8AC3E}">
        <p14:creationId xmlns:p14="http://schemas.microsoft.com/office/powerpoint/2010/main" val="4111464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12"/>
          <p:cNvGrpSpPr>
            <a:grpSpLocks/>
          </p:cNvGrpSpPr>
          <p:nvPr/>
        </p:nvGrpSpPr>
        <p:grpSpPr bwMode="auto">
          <a:xfrm>
            <a:off x="304234" y="1193800"/>
            <a:ext cx="7963467" cy="3204866"/>
            <a:chOff x="4960" y="744"/>
            <a:chExt cx="5541" cy="3045"/>
          </a:xfrm>
        </p:grpSpPr>
        <p:pic>
          <p:nvPicPr>
            <p:cNvPr id="11" name="Picture 3" descr="IO_Link_Komm_I_schwarz test"/>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60" y="744"/>
              <a:ext cx="5541" cy="30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12" name="Object 9"/>
            <p:cNvGraphicFramePr>
              <a:graphicFrameLocks noChangeAspect="1"/>
            </p:cNvGraphicFramePr>
            <p:nvPr/>
          </p:nvGraphicFramePr>
          <p:xfrm>
            <a:off x="7780" y="1729"/>
            <a:ext cx="997" cy="493"/>
          </p:xfrm>
          <a:graphic>
            <a:graphicData uri="http://schemas.openxmlformats.org/presentationml/2006/ole">
              <mc:AlternateContent xmlns:mc="http://schemas.openxmlformats.org/markup-compatibility/2006">
                <mc:Choice xmlns:v="urn:schemas-microsoft-com:vml" Requires="v">
                  <p:oleObj spid="_x0000_s5346" name="Image" r:id="rId10" imgW="2298413" imgH="1041270" progId="PhotoshopElements.Image.7">
                    <p:embed/>
                  </p:oleObj>
                </mc:Choice>
                <mc:Fallback>
                  <p:oleObj name="Image" r:id="rId10" imgW="2298413" imgH="1041270" progId="PhotoshopElements.Image.7">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80" y="1729"/>
                          <a:ext cx="997" cy="49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oleObj>
                </mc:Fallback>
              </mc:AlternateContent>
            </a:graphicData>
          </a:graphic>
        </p:graphicFrame>
      </p:grpSp>
      <p:sp>
        <p:nvSpPr>
          <p:cNvPr id="18" name="Textfeld 11"/>
          <p:cNvSpPr txBox="1">
            <a:spLocks noChangeArrowheads="1"/>
          </p:cNvSpPr>
          <p:nvPr/>
        </p:nvSpPr>
        <p:spPr bwMode="auto">
          <a:xfrm>
            <a:off x="6119400" y="4452761"/>
            <a:ext cx="2721194" cy="32316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2600">
                <a:solidFill>
                  <a:srgbClr val="595959"/>
                </a:solidFill>
                <a:latin typeface="Trebuchet MS" charset="0"/>
                <a:ea typeface="MS PGothic" charset="0"/>
                <a:cs typeface="MS PGothic" charset="0"/>
              </a:defRPr>
            </a:lvl1pPr>
            <a:lvl2pPr>
              <a:defRPr sz="2400">
                <a:solidFill>
                  <a:srgbClr val="595959"/>
                </a:solidFill>
                <a:latin typeface="Trebuchet MS" charset="0"/>
                <a:ea typeface="MS PGothic" charset="0"/>
                <a:cs typeface="MS PGothic" charset="0"/>
              </a:defRPr>
            </a:lvl2pPr>
            <a:lvl3pPr>
              <a:defRPr sz="2400">
                <a:solidFill>
                  <a:srgbClr val="595959"/>
                </a:solidFill>
                <a:latin typeface="Trebuchet MS" charset="0"/>
                <a:ea typeface="MS PGothic" charset="0"/>
                <a:cs typeface="MS PGothic" charset="0"/>
              </a:defRPr>
            </a:lvl3pPr>
            <a:lvl4pPr>
              <a:defRPr sz="2400">
                <a:solidFill>
                  <a:srgbClr val="595959"/>
                </a:solidFill>
                <a:latin typeface="Trebuchet MS" charset="0"/>
                <a:ea typeface="MS PGothic" charset="0"/>
                <a:cs typeface="MS PGothic" charset="0"/>
              </a:defRPr>
            </a:lvl4pPr>
            <a:lvl5pPr>
              <a:defRPr sz="2400">
                <a:solidFill>
                  <a:srgbClr val="595959"/>
                </a:solidFill>
                <a:latin typeface="Trebuchet MS" charset="0"/>
                <a:ea typeface="MS PGothic" charset="0"/>
                <a:cs typeface="MS PGothic" charset="0"/>
              </a:defRPr>
            </a:lvl5pPr>
            <a:lvl6pPr marL="2514600" indent="-228600" algn="l" rtl="0" eaLnBrk="0" hangingPunct="0">
              <a:defRPr sz="2400">
                <a:solidFill>
                  <a:srgbClr val="595959"/>
                </a:solidFill>
                <a:latin typeface="Trebuchet MS" charset="0"/>
                <a:ea typeface="MS PGothic" charset="0"/>
                <a:cs typeface="MS PGothic" charset="0"/>
              </a:defRPr>
            </a:lvl6pPr>
            <a:lvl7pPr marL="2971800" indent="-228600" algn="l" rtl="0" eaLnBrk="0" hangingPunct="0">
              <a:defRPr sz="2400">
                <a:solidFill>
                  <a:srgbClr val="595959"/>
                </a:solidFill>
                <a:latin typeface="Trebuchet MS" charset="0"/>
                <a:ea typeface="MS PGothic" charset="0"/>
                <a:cs typeface="MS PGothic" charset="0"/>
              </a:defRPr>
            </a:lvl7pPr>
            <a:lvl8pPr marL="3429000" indent="-228600" algn="l" rtl="0" eaLnBrk="0" hangingPunct="0">
              <a:defRPr sz="2400">
                <a:solidFill>
                  <a:srgbClr val="595959"/>
                </a:solidFill>
                <a:latin typeface="Trebuchet MS" charset="0"/>
                <a:ea typeface="MS PGothic" charset="0"/>
                <a:cs typeface="MS PGothic" charset="0"/>
              </a:defRPr>
            </a:lvl8pPr>
            <a:lvl9pPr marL="3886200" indent="-228600" algn="l" rtl="0" eaLnBrk="0" hangingPunct="0">
              <a:defRPr sz="2400">
                <a:solidFill>
                  <a:srgbClr val="595959"/>
                </a:solidFill>
                <a:latin typeface="Trebuchet MS" charset="0"/>
                <a:ea typeface="MS PGothic" charset="0"/>
                <a:cs typeface="MS PGothic" charset="0"/>
              </a:defRPr>
            </a:lvl9pPr>
          </a:lstStyle>
          <a:p>
            <a:r>
              <a:rPr lang="de-DE" sz="1500" dirty="0" err="1">
                <a:solidFill>
                  <a:schemeClr val="tx1"/>
                </a:solidFill>
                <a:latin typeface="Arial" charset="0"/>
              </a:rPr>
              <a:t>Fieldbus</a:t>
            </a:r>
            <a:r>
              <a:rPr lang="de-DE" sz="1500" dirty="0">
                <a:solidFill>
                  <a:schemeClr val="tx1"/>
                </a:solidFill>
                <a:latin typeface="Arial" charset="0"/>
              </a:rPr>
              <a:t>/Sensor </a:t>
            </a:r>
            <a:r>
              <a:rPr lang="de-DE" sz="1500" dirty="0" err="1">
                <a:solidFill>
                  <a:schemeClr val="tx1"/>
                </a:solidFill>
                <a:latin typeface="Arial" charset="0"/>
              </a:rPr>
              <a:t>Actuator</a:t>
            </a:r>
            <a:r>
              <a:rPr lang="de-DE" sz="1500" dirty="0">
                <a:solidFill>
                  <a:schemeClr val="tx1"/>
                </a:solidFill>
                <a:latin typeface="Arial" charset="0"/>
              </a:rPr>
              <a:t> Bus</a:t>
            </a:r>
          </a:p>
        </p:txBody>
      </p:sp>
      <p:sp>
        <p:nvSpPr>
          <p:cNvPr id="9" name="Textplatzhalter 1"/>
          <p:cNvSpPr txBox="1">
            <a:spLocks/>
          </p:cNvSpPr>
          <p:nvPr/>
        </p:nvSpPr>
        <p:spPr>
          <a:xfrm>
            <a:off x="2244000" y="1080000"/>
            <a:ext cx="4432300" cy="540000"/>
          </a:xfrm>
          <a:prstGeom prst="rect">
            <a:avLst/>
          </a:prstGeom>
        </p:spPr>
        <p:txBody>
          <a:bodyPr vert="horz" lIns="0" tIns="45720" rIns="91440" bIns="45720" rtlCol="0" anchor="ctr"/>
          <a:lstStyle>
            <a:defPPr>
              <a:defRPr lang="de-DE"/>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de-DE" sz="2000" b="1" dirty="0">
                <a:solidFill>
                  <a:srgbClr val="FF9900"/>
                </a:solidFill>
                <a:latin typeface="Arial"/>
                <a:ea typeface="MS PGothic" charset="0"/>
                <a:cs typeface="Arial"/>
              </a:rPr>
              <a:t>Present technology</a:t>
            </a:r>
            <a:endParaRPr lang="de-DE" sz="2000" b="1" dirty="0">
              <a:solidFill>
                <a:srgbClr val="FF9900"/>
              </a:solidFill>
              <a:latin typeface="Arial"/>
              <a:cs typeface="Arial"/>
            </a:endParaRPr>
          </a:p>
        </p:txBody>
      </p:sp>
      <p:sp>
        <p:nvSpPr>
          <p:cNvPr id="13" name="Text Box 4"/>
          <p:cNvSpPr txBox="1">
            <a:spLocks noChangeArrowheads="1"/>
          </p:cNvSpPr>
          <p:nvPr>
            <p:custDataLst>
              <p:tags r:id="rId2"/>
            </p:custDataLst>
          </p:nvPr>
        </p:nvSpPr>
        <p:spPr bwMode="auto">
          <a:xfrm>
            <a:off x="7775009" y="2124121"/>
            <a:ext cx="1437747"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2600">
                <a:solidFill>
                  <a:srgbClr val="595959"/>
                </a:solidFill>
                <a:latin typeface="Trebuchet MS" charset="0"/>
                <a:ea typeface="MS PGothic" charset="0"/>
                <a:cs typeface="MS PGothic" charset="0"/>
              </a:defRPr>
            </a:lvl1pPr>
            <a:lvl2pPr>
              <a:defRPr sz="2400">
                <a:solidFill>
                  <a:srgbClr val="595959"/>
                </a:solidFill>
                <a:latin typeface="Trebuchet MS" charset="0"/>
                <a:ea typeface="MS PGothic" charset="0"/>
                <a:cs typeface="MS PGothic" charset="0"/>
              </a:defRPr>
            </a:lvl2pPr>
            <a:lvl3pPr>
              <a:defRPr sz="2400">
                <a:solidFill>
                  <a:srgbClr val="595959"/>
                </a:solidFill>
                <a:latin typeface="Trebuchet MS" charset="0"/>
                <a:ea typeface="MS PGothic" charset="0"/>
                <a:cs typeface="MS PGothic" charset="0"/>
              </a:defRPr>
            </a:lvl3pPr>
            <a:lvl4pPr>
              <a:defRPr sz="2400">
                <a:solidFill>
                  <a:srgbClr val="595959"/>
                </a:solidFill>
                <a:latin typeface="Trebuchet MS" charset="0"/>
                <a:ea typeface="MS PGothic" charset="0"/>
                <a:cs typeface="MS PGothic" charset="0"/>
              </a:defRPr>
            </a:lvl4pPr>
            <a:lvl5pPr>
              <a:defRPr sz="2400">
                <a:solidFill>
                  <a:srgbClr val="595959"/>
                </a:solidFill>
                <a:latin typeface="Trebuchet MS" charset="0"/>
                <a:ea typeface="MS PGothic" charset="0"/>
                <a:cs typeface="MS PGothic" charset="0"/>
              </a:defRPr>
            </a:lvl5pPr>
            <a:lvl6pPr marL="2514600" indent="-228600" algn="l" rtl="0" eaLnBrk="0" hangingPunct="0">
              <a:defRPr sz="2400">
                <a:solidFill>
                  <a:srgbClr val="595959"/>
                </a:solidFill>
                <a:latin typeface="Trebuchet MS" charset="0"/>
                <a:ea typeface="MS PGothic" charset="0"/>
                <a:cs typeface="MS PGothic" charset="0"/>
              </a:defRPr>
            </a:lvl6pPr>
            <a:lvl7pPr marL="2971800" indent="-228600" algn="l" rtl="0" eaLnBrk="0" hangingPunct="0">
              <a:defRPr sz="2400">
                <a:solidFill>
                  <a:srgbClr val="595959"/>
                </a:solidFill>
                <a:latin typeface="Trebuchet MS" charset="0"/>
                <a:ea typeface="MS PGothic" charset="0"/>
                <a:cs typeface="MS PGothic" charset="0"/>
              </a:defRPr>
            </a:lvl7pPr>
            <a:lvl8pPr marL="3429000" indent="-228600" algn="l" rtl="0" eaLnBrk="0" hangingPunct="0">
              <a:defRPr sz="2400">
                <a:solidFill>
                  <a:srgbClr val="595959"/>
                </a:solidFill>
                <a:latin typeface="Trebuchet MS" charset="0"/>
                <a:ea typeface="MS PGothic" charset="0"/>
                <a:cs typeface="MS PGothic" charset="0"/>
              </a:defRPr>
            </a:lvl8pPr>
            <a:lvl9pPr marL="3886200" indent="-228600" algn="l" rtl="0" eaLnBrk="0" hangingPunct="0">
              <a:defRPr sz="2400">
                <a:solidFill>
                  <a:srgbClr val="595959"/>
                </a:solidFill>
                <a:latin typeface="Trebuchet MS" charset="0"/>
                <a:ea typeface="MS PGothic" charset="0"/>
                <a:cs typeface="MS PGothic" charset="0"/>
              </a:defRPr>
            </a:lvl9pPr>
          </a:lstStyle>
          <a:p>
            <a:pPr algn="ctr">
              <a:spcBef>
                <a:spcPct val="20000"/>
              </a:spcBef>
            </a:pPr>
            <a:r>
              <a:rPr lang="de-DE" sz="1500" b="1" dirty="0">
                <a:solidFill>
                  <a:srgbClr val="000090"/>
                </a:solidFill>
                <a:latin typeface="Arial"/>
                <a:cs typeface="Arial"/>
              </a:rPr>
              <a:t>Information</a:t>
            </a:r>
          </a:p>
        </p:txBody>
      </p:sp>
      <p:sp>
        <p:nvSpPr>
          <p:cNvPr id="16" name="Line 18"/>
          <p:cNvSpPr>
            <a:spLocks noChangeShapeType="1"/>
          </p:cNvSpPr>
          <p:nvPr>
            <p:custDataLst>
              <p:tags r:id="rId3"/>
            </p:custDataLst>
          </p:nvPr>
        </p:nvSpPr>
        <p:spPr bwMode="auto">
          <a:xfrm>
            <a:off x="9112816" y="2112369"/>
            <a:ext cx="8623" cy="1176932"/>
          </a:xfrm>
          <a:prstGeom prst="line">
            <a:avLst/>
          </a:prstGeom>
          <a:noFill/>
          <a:ln w="38100">
            <a:solidFill>
              <a:srgbClr val="FF0000"/>
            </a:solidFill>
            <a:round/>
            <a:headEnd type="triangle" w="med" len="med"/>
            <a:tailEnd type="triangle" w="med" len="med"/>
          </a:ln>
          <a:extLst>
            <a:ext uri="{909E8E84-426E-40dd-AFC4-6F175D3DCCD1}">
              <a14:hiddenFill xmlns:a14="http://schemas.microsoft.com/office/drawing/2010/main" xmlns="">
                <a:noFill/>
              </a14:hiddenFill>
            </a:ext>
          </a:extLst>
        </p:spPr>
        <p:txBody>
          <a:bodyPr/>
          <a:lstStyle/>
          <a:p>
            <a:endParaRPr lang="de-DE"/>
          </a:p>
        </p:txBody>
      </p:sp>
      <p:sp>
        <p:nvSpPr>
          <p:cNvPr id="17" name="Rectangle 19"/>
          <p:cNvSpPr>
            <a:spLocks noChangeAspect="1" noChangeArrowheads="1"/>
          </p:cNvSpPr>
          <p:nvPr>
            <p:custDataLst>
              <p:tags r:id="rId4"/>
            </p:custDataLst>
          </p:nvPr>
        </p:nvSpPr>
        <p:spPr bwMode="auto">
          <a:xfrm rot="16200000">
            <a:off x="8097433" y="2891101"/>
            <a:ext cx="1536371"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36000" tIns="0" rIns="36000" bIns="0">
            <a:spAutoFit/>
          </a:bodyPr>
          <a:lstStyle/>
          <a:p>
            <a:pPr algn="ctr">
              <a:buClr>
                <a:srgbClr val="FF9900"/>
              </a:buClr>
            </a:pPr>
            <a:r>
              <a:rPr lang="en-GB" sz="1200" dirty="0">
                <a:solidFill>
                  <a:srgbClr val="FF0000"/>
                </a:solidFill>
                <a:latin typeface="Arial"/>
                <a:cs typeface="Arial"/>
              </a:rPr>
              <a:t>Communication</a:t>
            </a:r>
            <a:endParaRPr lang="en-US" sz="1200" dirty="0">
              <a:solidFill>
                <a:srgbClr val="FF0000"/>
              </a:solidFill>
              <a:latin typeface="Arial"/>
              <a:cs typeface="Arial"/>
            </a:endParaRPr>
          </a:p>
        </p:txBody>
      </p:sp>
      <p:sp>
        <p:nvSpPr>
          <p:cNvPr id="4" name="Foliennummernplatzhalter 3"/>
          <p:cNvSpPr>
            <a:spLocks noGrp="1"/>
          </p:cNvSpPr>
          <p:nvPr>
            <p:ph type="sldNum" sz="quarter" idx="12"/>
          </p:nvPr>
        </p:nvSpPr>
        <p:spPr/>
        <p:txBody>
          <a:bodyPr/>
          <a:lstStyle/>
          <a:p>
            <a:fld id="{09AD34A2-EE0D-B74D-A5FF-4EBBE21DF867}" type="slidenum">
              <a:rPr lang="de-DE" smtClean="0"/>
              <a:t>5</a:t>
            </a:fld>
            <a:endParaRPr lang="de-DE"/>
          </a:p>
        </p:txBody>
      </p:sp>
      <p:sp>
        <p:nvSpPr>
          <p:cNvPr id="21" name="Textplatzhalter 1"/>
          <p:cNvSpPr txBox="1">
            <a:spLocks/>
          </p:cNvSpPr>
          <p:nvPr/>
        </p:nvSpPr>
        <p:spPr>
          <a:xfrm>
            <a:off x="2378047" y="4856888"/>
            <a:ext cx="6506300" cy="378146"/>
          </a:xfrm>
          <a:prstGeom prst="rect">
            <a:avLst/>
          </a:prstGeom>
        </p:spPr>
        <p:txBody>
          <a:bodyPr vert="horz" lIns="0" tIns="45720" rIns="91440" bIns="45720" rtlCol="0" anchor="ctr"/>
          <a:lstStyle>
            <a:defPPr>
              <a:defRPr lang="de-DE"/>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de-DE" sz="2000" b="1" dirty="0">
                <a:solidFill>
                  <a:srgbClr val="FF9900"/>
                </a:solidFill>
                <a:latin typeface="Arial"/>
                <a:ea typeface="MS PGothic" charset="0"/>
                <a:cs typeface="Arial"/>
              </a:rPr>
              <a:t>Present technology –Ideas for improvements</a:t>
            </a:r>
            <a:endParaRPr lang="de-DE" sz="2000" b="1" dirty="0">
              <a:solidFill>
                <a:srgbClr val="FF9900"/>
              </a:solidFill>
              <a:latin typeface="Arial"/>
              <a:cs typeface="Arial"/>
            </a:endParaRPr>
          </a:p>
        </p:txBody>
      </p:sp>
      <p:sp>
        <p:nvSpPr>
          <p:cNvPr id="22" name="Rectangle 3"/>
          <p:cNvSpPr txBox="1">
            <a:spLocks noChangeArrowheads="1"/>
          </p:cNvSpPr>
          <p:nvPr/>
        </p:nvSpPr>
        <p:spPr>
          <a:xfrm>
            <a:off x="2378047" y="5278991"/>
            <a:ext cx="6277700" cy="1230666"/>
          </a:xfrm>
          <a:prstGeom prst="rect">
            <a:avLst/>
          </a:prstGeom>
        </p:spPr>
        <p:txBody>
          <a:bodyPr vert="horz" lIns="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r>
              <a:rPr lang="de-DE" sz="1200" dirty="0">
                <a:solidFill>
                  <a:srgbClr val="FF9900"/>
                </a:solidFill>
                <a:latin typeface="Arial" pitchFamily="34" charset="0"/>
              </a:rPr>
              <a:t>•</a:t>
            </a:r>
            <a:r>
              <a:rPr lang="de-DE" sz="1200" dirty="0">
                <a:latin typeface="Arial" pitchFamily="34" charset="0"/>
              </a:rPr>
              <a:t> </a:t>
            </a:r>
            <a:r>
              <a:rPr lang="de-DE" sz="1200" dirty="0">
                <a:solidFill>
                  <a:srgbClr val="000000"/>
                </a:solidFill>
                <a:latin typeface="Arial"/>
                <a:ea typeface="MS PGothic" charset="0"/>
                <a:cs typeface="Arial"/>
              </a:rPr>
              <a:t>Communication towards sensors and actuators</a:t>
            </a:r>
          </a:p>
          <a:p>
            <a:pPr algn="l"/>
            <a:r>
              <a:rPr lang="de-DE" sz="1200" dirty="0">
                <a:solidFill>
                  <a:srgbClr val="FF9900"/>
                </a:solidFill>
                <a:latin typeface="Arial" pitchFamily="34" charset="0"/>
              </a:rPr>
              <a:t>•</a:t>
            </a:r>
            <a:r>
              <a:rPr lang="de-DE" sz="1200" dirty="0">
                <a:latin typeface="Arial" pitchFamily="34" charset="0"/>
              </a:rPr>
              <a:t> </a:t>
            </a:r>
            <a:r>
              <a:rPr lang="de-DE" sz="1200" dirty="0">
                <a:solidFill>
                  <a:srgbClr val="000000"/>
                </a:solidFill>
                <a:latin typeface="Arial"/>
                <a:ea typeface="MS PGothic" charset="0"/>
                <a:cs typeface="Arial"/>
              </a:rPr>
              <a:t>Combined transmission mesurement values and binary signals</a:t>
            </a:r>
          </a:p>
          <a:p>
            <a:pPr algn="l"/>
            <a:r>
              <a:rPr lang="de-DE" sz="1200" dirty="0">
                <a:solidFill>
                  <a:srgbClr val="FF9900"/>
                </a:solidFill>
                <a:latin typeface="Arial" pitchFamily="34" charset="0"/>
              </a:rPr>
              <a:t>•</a:t>
            </a:r>
            <a:r>
              <a:rPr lang="de-DE" sz="1200" dirty="0">
                <a:latin typeface="Arial" pitchFamily="34" charset="0"/>
              </a:rPr>
              <a:t> </a:t>
            </a:r>
            <a:r>
              <a:rPr lang="de-DE" sz="1200" dirty="0">
                <a:solidFill>
                  <a:srgbClr val="000000"/>
                </a:solidFill>
                <a:latin typeface="Arial"/>
                <a:ea typeface="MS PGothic" charset="0"/>
                <a:cs typeface="Arial"/>
              </a:rPr>
              <a:t>Reduced cabling</a:t>
            </a:r>
          </a:p>
          <a:p>
            <a:pPr algn="l"/>
            <a:r>
              <a:rPr lang="de-DE" sz="1200" dirty="0">
                <a:solidFill>
                  <a:srgbClr val="FF9900"/>
                </a:solidFill>
                <a:latin typeface="Arial" pitchFamily="34" charset="0"/>
              </a:rPr>
              <a:t>•</a:t>
            </a:r>
            <a:r>
              <a:rPr lang="de-DE" sz="1200" dirty="0">
                <a:latin typeface="Arial" pitchFamily="34" charset="0"/>
              </a:rPr>
              <a:t> </a:t>
            </a:r>
            <a:r>
              <a:rPr lang="de-DE" sz="1200" dirty="0">
                <a:solidFill>
                  <a:srgbClr val="000000"/>
                </a:solidFill>
                <a:latin typeface="Arial"/>
                <a:ea typeface="MS PGothic" charset="0"/>
                <a:cs typeface="Arial"/>
              </a:rPr>
              <a:t>Consistent parameter data storage</a:t>
            </a:r>
          </a:p>
          <a:p>
            <a:pPr algn="l"/>
            <a:r>
              <a:rPr lang="de-DE" sz="1200" dirty="0">
                <a:solidFill>
                  <a:srgbClr val="FF9900"/>
                </a:solidFill>
                <a:latin typeface="Arial" pitchFamily="34" charset="0"/>
              </a:rPr>
              <a:t>•</a:t>
            </a:r>
            <a:r>
              <a:rPr lang="de-DE" sz="1200" dirty="0">
                <a:latin typeface="Arial" pitchFamily="34" charset="0"/>
              </a:rPr>
              <a:t> </a:t>
            </a:r>
            <a:r>
              <a:rPr lang="de-DE" sz="1200" dirty="0">
                <a:solidFill>
                  <a:srgbClr val="000000"/>
                </a:solidFill>
                <a:latin typeface="Arial"/>
                <a:ea typeface="MS PGothic" charset="0"/>
                <a:cs typeface="Arial"/>
              </a:rPr>
              <a:t>Noise immune analogue data transmission</a:t>
            </a:r>
          </a:p>
        </p:txBody>
      </p:sp>
      <p:sp>
        <p:nvSpPr>
          <p:cNvPr id="23" name="Rectangle 7"/>
          <p:cNvSpPr>
            <a:spLocks noChangeArrowheads="1"/>
          </p:cNvSpPr>
          <p:nvPr>
            <p:custDataLst>
              <p:tags r:id="rId5"/>
            </p:custDataLst>
          </p:nvPr>
        </p:nvSpPr>
        <p:spPr bwMode="auto">
          <a:xfrm>
            <a:off x="3090403" y="2996713"/>
            <a:ext cx="120572" cy="101440"/>
          </a:xfrm>
          <a:prstGeom prst="rect">
            <a:avLst/>
          </a:prstGeom>
          <a:solidFill>
            <a:srgbClr val="0000CC"/>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0000CC"/>
            </a:extrusionClr>
          </a:sp3d>
        </p:spPr>
        <p:txBody>
          <a:bodyPr wrap="none" anchor="ctr">
            <a:flatTx/>
          </a:bodyPr>
          <a:lstStyle/>
          <a:p>
            <a:endParaRPr lang="de-DE"/>
          </a:p>
        </p:txBody>
      </p:sp>
      <p:sp>
        <p:nvSpPr>
          <p:cNvPr id="24" name="Rectangle 7"/>
          <p:cNvSpPr>
            <a:spLocks noChangeArrowheads="1"/>
          </p:cNvSpPr>
          <p:nvPr>
            <p:custDataLst>
              <p:tags r:id="rId6"/>
            </p:custDataLst>
          </p:nvPr>
        </p:nvSpPr>
        <p:spPr bwMode="auto">
          <a:xfrm>
            <a:off x="6925803" y="3034166"/>
            <a:ext cx="120572" cy="101440"/>
          </a:xfrm>
          <a:prstGeom prst="rect">
            <a:avLst/>
          </a:prstGeom>
          <a:solidFill>
            <a:srgbClr val="0000CC"/>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0000CC"/>
            </a:extrusionClr>
          </a:sp3d>
        </p:spPr>
        <p:txBody>
          <a:bodyPr wrap="none" anchor="ctr">
            <a:flatTx/>
          </a:bodyPr>
          <a:lstStyle/>
          <a:p>
            <a:endParaRPr lang="de-DE"/>
          </a:p>
        </p:txBody>
      </p:sp>
    </p:spTree>
    <p:extLst>
      <p:ext uri="{BB962C8B-B14F-4D97-AF65-F5344CB8AC3E}">
        <p14:creationId xmlns:p14="http://schemas.microsoft.com/office/powerpoint/2010/main" val="1989116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grpId="0" nodeType="clickEffect">
                                  <p:stCondLst>
                                    <p:cond delay="0"/>
                                  </p:stCondLst>
                                  <p:childTnLst>
                                    <p:animMotion origin="layout" path="M 0 0 L 0 -0.1493 L 0.25087 -0.1449 L 0.25261 -0.19444 L 0.25261 -0.19444 " pathEditMode="relative" ptsTypes="AAAAA">
                                      <p:cBhvr>
                                        <p:cTn id="6" dur="2000" fill="hold"/>
                                        <p:tgtEl>
                                          <p:spTgt spid="23"/>
                                        </p:tgtEl>
                                        <p:attrNameLst>
                                          <p:attrName>ppt_x</p:attrName>
                                          <p:attrName>ppt_y</p:attrName>
                                        </p:attrNameLst>
                                      </p:cBhvr>
                                    </p:animMotion>
                                  </p:childTnLst>
                                </p:cTn>
                              </p:par>
                            </p:childTnLst>
                          </p:cTn>
                        </p:par>
                      </p:childTnLst>
                    </p:cTn>
                  </p:par>
                  <p:par>
                    <p:cTn id="7" fill="hold">
                      <p:stCondLst>
                        <p:cond delay="indefinite"/>
                      </p:stCondLst>
                      <p:childTnLst>
                        <p:par>
                          <p:cTn id="8" fill="hold">
                            <p:stCondLst>
                              <p:cond delay="0"/>
                            </p:stCondLst>
                            <p:childTnLst>
                              <p:par>
                                <p:cTn id="9" presetID="0" presetClass="path" presetSubtype="0" accel="50000" decel="50000" fill="hold" grpId="0" nodeType="clickEffect">
                                  <p:stCondLst>
                                    <p:cond delay="0"/>
                                  </p:stCondLst>
                                  <p:childTnLst>
                                    <p:animMotion origin="layout" path="M 0 0 L 0.00174 -0.02269 L -0.25763 -0.025 L -0.2592 -0.14259 L -0.1677 -0.14468 L -0.16267 -0.21019 " pathEditMode="relative" ptsTypes="AAAAAA">
                                      <p:cBhvr>
                                        <p:cTn id="10" dur="2000" fill="hold"/>
                                        <p:tgtEl>
                                          <p:spTgt spid="24"/>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uppieren 1"/>
          <p:cNvGrpSpPr>
            <a:grpSpLocks/>
          </p:cNvGrpSpPr>
          <p:nvPr>
            <p:custDataLst>
              <p:tags r:id="rId2"/>
            </p:custDataLst>
          </p:nvPr>
        </p:nvGrpSpPr>
        <p:grpSpPr bwMode="auto">
          <a:xfrm>
            <a:off x="550989" y="1528643"/>
            <a:ext cx="7425884" cy="3333993"/>
            <a:chOff x="-857250" y="1196975"/>
            <a:chExt cx="8799513" cy="4695825"/>
          </a:xfrm>
        </p:grpSpPr>
        <p:pic>
          <p:nvPicPr>
            <p:cNvPr id="21" name="Picture 3" descr="IO_Link_Komm_I_neu test"/>
            <p:cNvPicPr>
              <a:picLocks noChangeAspect="1" noChangeArrowheads="1"/>
            </p:cNvPicPr>
            <p:nvPr>
              <p:custDataLst>
                <p:tags r:id="rId14"/>
              </p:custDataLst>
            </p:nvPr>
          </p:nvPicPr>
          <p:blipFill>
            <a:blip r:embed="rId19">
              <a:extLst>
                <a:ext uri="{28A0092B-C50C-407E-A947-70E740481C1C}">
                  <a14:useLocalDpi xmlns:a14="http://schemas.microsoft.com/office/drawing/2010/main" val="0"/>
                </a:ext>
              </a:extLst>
            </a:blip>
            <a:srcRect/>
            <a:stretch>
              <a:fillRect/>
            </a:stretch>
          </p:blipFill>
          <p:spPr bwMode="auto">
            <a:xfrm>
              <a:off x="-857250" y="1196975"/>
              <a:ext cx="8799513" cy="4695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 name="Rectangle 13"/>
            <p:cNvSpPr>
              <a:spLocks noChangeArrowheads="1"/>
            </p:cNvSpPr>
            <p:nvPr>
              <p:custDataLst>
                <p:tags r:id="rId15"/>
              </p:custDataLst>
            </p:nvPr>
          </p:nvSpPr>
          <p:spPr bwMode="auto">
            <a:xfrm>
              <a:off x="5060950" y="2708275"/>
              <a:ext cx="720725" cy="2889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de-DE"/>
            </a:p>
          </p:txBody>
        </p:sp>
        <p:graphicFrame>
          <p:nvGraphicFramePr>
            <p:cNvPr id="23" name="Object 12"/>
            <p:cNvGraphicFramePr>
              <a:graphicFrameLocks noChangeAspect="1"/>
            </p:cNvGraphicFramePr>
            <p:nvPr>
              <p:custDataLst>
                <p:tags r:id="rId16"/>
              </p:custDataLst>
            </p:nvPr>
          </p:nvGraphicFramePr>
          <p:xfrm>
            <a:off x="3665538" y="2716213"/>
            <a:ext cx="1582738" cy="782638"/>
          </p:xfrm>
          <a:graphic>
            <a:graphicData uri="http://schemas.openxmlformats.org/presentationml/2006/ole">
              <mc:AlternateContent xmlns:mc="http://schemas.openxmlformats.org/markup-compatibility/2006">
                <mc:Choice xmlns:v="urn:schemas-microsoft-com:vml" Requires="v">
                  <p:oleObj spid="_x0000_s6373" name="Image" r:id="rId20" imgW="2298413" imgH="1041270" progId="PhotoshopElements.Image.7">
                    <p:embed/>
                  </p:oleObj>
                </mc:Choice>
                <mc:Fallback>
                  <p:oleObj name="Image" r:id="rId20" imgW="2298413" imgH="1041270" progId="PhotoshopElements.Image.7">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665538" y="2716213"/>
                          <a:ext cx="1582738" cy="7826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pic>
                  </p:oleObj>
                </mc:Fallback>
              </mc:AlternateContent>
            </a:graphicData>
          </a:graphic>
        </p:graphicFrame>
        <p:pic>
          <p:nvPicPr>
            <p:cNvPr id="24" name="Bild 2" descr="Bild 4.png"/>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5349875" y="3055938"/>
              <a:ext cx="792163" cy="157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38" name="Text Box 4"/>
          <p:cNvSpPr txBox="1">
            <a:spLocks noChangeArrowheads="1"/>
          </p:cNvSpPr>
          <p:nvPr>
            <p:custDataLst>
              <p:tags r:id="rId3"/>
            </p:custDataLst>
          </p:nvPr>
        </p:nvSpPr>
        <p:spPr bwMode="auto">
          <a:xfrm>
            <a:off x="7985490" y="3104349"/>
            <a:ext cx="1241044"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2600">
                <a:solidFill>
                  <a:srgbClr val="595959"/>
                </a:solidFill>
                <a:latin typeface="Trebuchet MS" charset="0"/>
                <a:ea typeface="MS PGothic" charset="0"/>
                <a:cs typeface="MS PGothic" charset="0"/>
              </a:defRPr>
            </a:lvl1pPr>
            <a:lvl2pPr>
              <a:defRPr sz="2400">
                <a:solidFill>
                  <a:srgbClr val="595959"/>
                </a:solidFill>
                <a:latin typeface="Trebuchet MS" charset="0"/>
                <a:ea typeface="MS PGothic" charset="0"/>
                <a:cs typeface="MS PGothic" charset="0"/>
              </a:defRPr>
            </a:lvl2pPr>
            <a:lvl3pPr>
              <a:defRPr sz="2400">
                <a:solidFill>
                  <a:srgbClr val="595959"/>
                </a:solidFill>
                <a:latin typeface="Trebuchet MS" charset="0"/>
                <a:ea typeface="MS PGothic" charset="0"/>
                <a:cs typeface="MS PGothic" charset="0"/>
              </a:defRPr>
            </a:lvl3pPr>
            <a:lvl4pPr>
              <a:defRPr sz="2400">
                <a:solidFill>
                  <a:srgbClr val="595959"/>
                </a:solidFill>
                <a:latin typeface="Trebuchet MS" charset="0"/>
                <a:ea typeface="MS PGothic" charset="0"/>
                <a:cs typeface="MS PGothic" charset="0"/>
              </a:defRPr>
            </a:lvl4pPr>
            <a:lvl5pPr>
              <a:defRPr sz="2400">
                <a:solidFill>
                  <a:srgbClr val="595959"/>
                </a:solidFill>
                <a:latin typeface="Trebuchet MS" charset="0"/>
                <a:ea typeface="MS PGothic" charset="0"/>
                <a:cs typeface="MS PGothic" charset="0"/>
              </a:defRPr>
            </a:lvl5pPr>
            <a:lvl6pPr marL="2514600" indent="-228600" algn="l" rtl="0" eaLnBrk="0" hangingPunct="0">
              <a:defRPr sz="2400">
                <a:solidFill>
                  <a:srgbClr val="595959"/>
                </a:solidFill>
                <a:latin typeface="Trebuchet MS" charset="0"/>
                <a:ea typeface="MS PGothic" charset="0"/>
                <a:cs typeface="MS PGothic" charset="0"/>
              </a:defRPr>
            </a:lvl6pPr>
            <a:lvl7pPr marL="2971800" indent="-228600" algn="l" rtl="0" eaLnBrk="0" hangingPunct="0">
              <a:defRPr sz="2400">
                <a:solidFill>
                  <a:srgbClr val="595959"/>
                </a:solidFill>
                <a:latin typeface="Trebuchet MS" charset="0"/>
                <a:ea typeface="MS PGothic" charset="0"/>
                <a:cs typeface="MS PGothic" charset="0"/>
              </a:defRPr>
            </a:lvl7pPr>
            <a:lvl8pPr marL="3429000" indent="-228600" algn="l" rtl="0" eaLnBrk="0" hangingPunct="0">
              <a:defRPr sz="2400">
                <a:solidFill>
                  <a:srgbClr val="595959"/>
                </a:solidFill>
                <a:latin typeface="Trebuchet MS" charset="0"/>
                <a:ea typeface="MS PGothic" charset="0"/>
                <a:cs typeface="MS PGothic" charset="0"/>
              </a:defRPr>
            </a:lvl8pPr>
            <a:lvl9pPr marL="3886200" indent="-228600" algn="l" rtl="0" eaLnBrk="0" hangingPunct="0">
              <a:defRPr sz="2400">
                <a:solidFill>
                  <a:srgbClr val="595959"/>
                </a:solidFill>
                <a:latin typeface="Trebuchet MS" charset="0"/>
                <a:ea typeface="MS PGothic" charset="0"/>
                <a:cs typeface="MS PGothic" charset="0"/>
              </a:defRPr>
            </a:lvl9pPr>
          </a:lstStyle>
          <a:p>
            <a:pPr algn="ctr">
              <a:spcBef>
                <a:spcPct val="20000"/>
              </a:spcBef>
            </a:pPr>
            <a:r>
              <a:rPr lang="de-DE" sz="1500" b="1" dirty="0">
                <a:solidFill>
                  <a:srgbClr val="000090"/>
                </a:solidFill>
                <a:latin typeface="Arial"/>
                <a:cs typeface="Arial"/>
              </a:rPr>
              <a:t>Information</a:t>
            </a:r>
          </a:p>
        </p:txBody>
      </p:sp>
      <p:pic>
        <p:nvPicPr>
          <p:cNvPr id="3" name="Bild 2" descr="Logo_IO-link.JP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3101187" y="4869050"/>
            <a:ext cx="828248" cy="193857"/>
          </a:xfrm>
          <a:prstGeom prst="rect">
            <a:avLst/>
          </a:prstGeom>
        </p:spPr>
      </p:pic>
      <p:pic>
        <p:nvPicPr>
          <p:cNvPr id="41" name="Bild 40" descr="Logo_IO-link.JP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230654" y="4925866"/>
            <a:ext cx="828248" cy="193857"/>
          </a:xfrm>
          <a:prstGeom prst="rect">
            <a:avLst/>
          </a:prstGeom>
        </p:spPr>
      </p:pic>
      <p:sp>
        <p:nvSpPr>
          <p:cNvPr id="9" name="Textplatzhalter 1"/>
          <p:cNvSpPr txBox="1">
            <a:spLocks/>
          </p:cNvSpPr>
          <p:nvPr/>
        </p:nvSpPr>
        <p:spPr>
          <a:xfrm>
            <a:off x="2244001" y="1080000"/>
            <a:ext cx="6436253" cy="540000"/>
          </a:xfrm>
          <a:prstGeom prst="rect">
            <a:avLst/>
          </a:prstGeom>
        </p:spPr>
        <p:txBody>
          <a:bodyPr vert="horz" lIns="0" tIns="45720" rIns="91440" bIns="45720" rtlCol="0" anchor="ctr"/>
          <a:lstStyle>
            <a:defPPr>
              <a:defRPr lang="de-DE"/>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de-DE" sz="2000" b="1" dirty="0">
                <a:solidFill>
                  <a:srgbClr val="FF9900"/>
                </a:solidFill>
                <a:latin typeface="Arial"/>
                <a:ea typeface="MS PGothic" charset="0"/>
                <a:cs typeface="Arial"/>
              </a:rPr>
              <a:t>Communication </a:t>
            </a:r>
            <a:r>
              <a:rPr lang="de-DE" sz="2000" b="1" dirty="0" err="1">
                <a:solidFill>
                  <a:srgbClr val="FF9900"/>
                </a:solidFill>
                <a:latin typeface="Arial"/>
                <a:ea typeface="MS PGothic" charset="0"/>
                <a:cs typeface="Arial"/>
              </a:rPr>
              <a:t>towards</a:t>
            </a:r>
            <a:r>
              <a:rPr lang="de-DE" sz="2000" b="1" dirty="0">
                <a:solidFill>
                  <a:srgbClr val="FF9900"/>
                </a:solidFill>
                <a:latin typeface="Arial"/>
                <a:ea typeface="MS PGothic" charset="0"/>
                <a:cs typeface="Arial"/>
              </a:rPr>
              <a:t> </a:t>
            </a:r>
            <a:r>
              <a:rPr lang="de-DE" sz="2000" b="1" dirty="0" err="1">
                <a:solidFill>
                  <a:srgbClr val="FF9900"/>
                </a:solidFill>
                <a:latin typeface="Arial"/>
                <a:ea typeface="MS PGothic" charset="0"/>
                <a:cs typeface="Arial"/>
              </a:rPr>
              <a:t>sensors</a:t>
            </a:r>
            <a:r>
              <a:rPr lang="de-DE" sz="2000" b="1" dirty="0">
                <a:solidFill>
                  <a:srgbClr val="FF9900"/>
                </a:solidFill>
                <a:latin typeface="Arial"/>
                <a:ea typeface="MS PGothic" charset="0"/>
                <a:cs typeface="Arial"/>
              </a:rPr>
              <a:t> </a:t>
            </a:r>
            <a:r>
              <a:rPr lang="de-DE" sz="2000" b="1" dirty="0" err="1">
                <a:solidFill>
                  <a:srgbClr val="FF9900"/>
                </a:solidFill>
                <a:latin typeface="Arial"/>
                <a:ea typeface="MS PGothic" charset="0"/>
                <a:cs typeface="Arial"/>
              </a:rPr>
              <a:t>and</a:t>
            </a:r>
            <a:r>
              <a:rPr lang="de-DE" sz="2000" b="1" dirty="0">
                <a:solidFill>
                  <a:srgbClr val="FF9900"/>
                </a:solidFill>
                <a:latin typeface="Arial"/>
                <a:ea typeface="MS PGothic" charset="0"/>
                <a:cs typeface="Arial"/>
              </a:rPr>
              <a:t> </a:t>
            </a:r>
            <a:r>
              <a:rPr lang="de-DE" sz="2000" b="1" dirty="0" err="1">
                <a:solidFill>
                  <a:srgbClr val="FF9900"/>
                </a:solidFill>
                <a:latin typeface="Arial"/>
                <a:ea typeface="MS PGothic" charset="0"/>
                <a:cs typeface="Arial"/>
              </a:rPr>
              <a:t>actuators</a:t>
            </a:r>
            <a:endParaRPr lang="de-DE" sz="2000" b="1" dirty="0">
              <a:solidFill>
                <a:srgbClr val="FF9900"/>
              </a:solidFill>
              <a:latin typeface="Arial"/>
              <a:cs typeface="Arial"/>
            </a:endParaRPr>
          </a:p>
        </p:txBody>
      </p:sp>
      <p:sp>
        <p:nvSpPr>
          <p:cNvPr id="26" name="Rectangle 5"/>
          <p:cNvSpPr>
            <a:spLocks noChangeArrowheads="1"/>
          </p:cNvSpPr>
          <p:nvPr>
            <p:custDataLst>
              <p:tags r:id="rId4"/>
            </p:custDataLst>
          </p:nvPr>
        </p:nvSpPr>
        <p:spPr bwMode="auto">
          <a:xfrm>
            <a:off x="2801876" y="4534307"/>
            <a:ext cx="120572" cy="101440"/>
          </a:xfrm>
          <a:prstGeom prst="rect">
            <a:avLst/>
          </a:prstGeom>
          <a:solidFill>
            <a:srgbClr val="0000CC"/>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0000CC"/>
            </a:extrusionClr>
          </a:sp3d>
        </p:spPr>
        <p:txBody>
          <a:bodyPr wrap="none" anchor="ctr">
            <a:flatTx/>
          </a:bodyPr>
          <a:lstStyle/>
          <a:p>
            <a:endParaRPr lang="de-DE"/>
          </a:p>
        </p:txBody>
      </p:sp>
      <p:sp>
        <p:nvSpPr>
          <p:cNvPr id="27" name="Rectangle 6"/>
          <p:cNvSpPr>
            <a:spLocks noChangeArrowheads="1"/>
          </p:cNvSpPr>
          <p:nvPr>
            <p:custDataLst>
              <p:tags r:id="rId5"/>
            </p:custDataLst>
          </p:nvPr>
        </p:nvSpPr>
        <p:spPr bwMode="auto">
          <a:xfrm>
            <a:off x="3303611" y="4534307"/>
            <a:ext cx="120572" cy="101440"/>
          </a:xfrm>
          <a:prstGeom prst="rect">
            <a:avLst/>
          </a:prstGeom>
          <a:solidFill>
            <a:srgbClr val="0000CC"/>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0000CC"/>
            </a:extrusionClr>
          </a:sp3d>
        </p:spPr>
        <p:txBody>
          <a:bodyPr wrap="none" anchor="ctr">
            <a:flatTx/>
          </a:bodyPr>
          <a:lstStyle/>
          <a:p>
            <a:endParaRPr lang="de-DE"/>
          </a:p>
        </p:txBody>
      </p:sp>
      <p:sp>
        <p:nvSpPr>
          <p:cNvPr id="29" name="Rectangle 7"/>
          <p:cNvSpPr>
            <a:spLocks noChangeArrowheads="1"/>
          </p:cNvSpPr>
          <p:nvPr>
            <p:custDataLst>
              <p:tags r:id="rId6"/>
            </p:custDataLst>
          </p:nvPr>
        </p:nvSpPr>
        <p:spPr bwMode="auto">
          <a:xfrm>
            <a:off x="3649203" y="4490061"/>
            <a:ext cx="120572" cy="101440"/>
          </a:xfrm>
          <a:prstGeom prst="rect">
            <a:avLst/>
          </a:prstGeom>
          <a:solidFill>
            <a:srgbClr val="0000CC"/>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0000CC"/>
            </a:extrusionClr>
          </a:sp3d>
        </p:spPr>
        <p:txBody>
          <a:bodyPr wrap="none" anchor="ctr">
            <a:flatTx/>
          </a:bodyPr>
          <a:lstStyle/>
          <a:p>
            <a:endParaRPr lang="de-DE"/>
          </a:p>
        </p:txBody>
      </p:sp>
      <p:sp>
        <p:nvSpPr>
          <p:cNvPr id="30" name="Rectangle 8"/>
          <p:cNvSpPr>
            <a:spLocks noChangeArrowheads="1"/>
          </p:cNvSpPr>
          <p:nvPr>
            <p:custDataLst>
              <p:tags r:id="rId7"/>
            </p:custDataLst>
          </p:nvPr>
        </p:nvSpPr>
        <p:spPr bwMode="auto">
          <a:xfrm>
            <a:off x="4893519" y="4425420"/>
            <a:ext cx="120572" cy="101440"/>
          </a:xfrm>
          <a:prstGeom prst="rect">
            <a:avLst/>
          </a:prstGeom>
          <a:solidFill>
            <a:srgbClr val="0000CC"/>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0000CC"/>
            </a:extrusionClr>
          </a:sp3d>
        </p:spPr>
        <p:txBody>
          <a:bodyPr wrap="none" anchor="ctr">
            <a:flatTx/>
          </a:bodyPr>
          <a:lstStyle/>
          <a:p>
            <a:endParaRPr lang="de-DE"/>
          </a:p>
        </p:txBody>
      </p:sp>
      <p:sp>
        <p:nvSpPr>
          <p:cNvPr id="31" name="Rectangle 9"/>
          <p:cNvSpPr>
            <a:spLocks noChangeArrowheads="1"/>
          </p:cNvSpPr>
          <p:nvPr>
            <p:custDataLst>
              <p:tags r:id="rId8"/>
            </p:custDataLst>
          </p:nvPr>
        </p:nvSpPr>
        <p:spPr bwMode="auto">
          <a:xfrm>
            <a:off x="5125569" y="4419723"/>
            <a:ext cx="120572" cy="101440"/>
          </a:xfrm>
          <a:prstGeom prst="rect">
            <a:avLst/>
          </a:prstGeom>
          <a:solidFill>
            <a:srgbClr val="0000CC"/>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0000CC"/>
            </a:extrusionClr>
          </a:sp3d>
        </p:spPr>
        <p:txBody>
          <a:bodyPr wrap="none" anchor="ctr">
            <a:flatTx/>
          </a:bodyPr>
          <a:lstStyle/>
          <a:p>
            <a:endParaRPr lang="de-DE"/>
          </a:p>
        </p:txBody>
      </p:sp>
      <p:sp>
        <p:nvSpPr>
          <p:cNvPr id="32" name="Rectangle 10"/>
          <p:cNvSpPr>
            <a:spLocks noChangeArrowheads="1"/>
          </p:cNvSpPr>
          <p:nvPr>
            <p:custDataLst>
              <p:tags r:id="rId9"/>
            </p:custDataLst>
          </p:nvPr>
        </p:nvSpPr>
        <p:spPr bwMode="auto">
          <a:xfrm>
            <a:off x="6337096" y="4521609"/>
            <a:ext cx="120572" cy="101440"/>
          </a:xfrm>
          <a:prstGeom prst="rect">
            <a:avLst/>
          </a:prstGeom>
          <a:solidFill>
            <a:srgbClr val="0000CC"/>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0000CC"/>
            </a:extrusionClr>
          </a:sp3d>
        </p:spPr>
        <p:txBody>
          <a:bodyPr wrap="none" anchor="ctr">
            <a:flatTx/>
          </a:bodyPr>
          <a:lstStyle/>
          <a:p>
            <a:endParaRPr lang="de-DE"/>
          </a:p>
        </p:txBody>
      </p:sp>
      <p:sp>
        <p:nvSpPr>
          <p:cNvPr id="33" name="Rectangle 11"/>
          <p:cNvSpPr>
            <a:spLocks noChangeArrowheads="1"/>
          </p:cNvSpPr>
          <p:nvPr>
            <p:custDataLst>
              <p:tags r:id="rId10"/>
            </p:custDataLst>
          </p:nvPr>
        </p:nvSpPr>
        <p:spPr bwMode="auto">
          <a:xfrm>
            <a:off x="7068099" y="4490061"/>
            <a:ext cx="120572" cy="101440"/>
          </a:xfrm>
          <a:prstGeom prst="rect">
            <a:avLst/>
          </a:prstGeom>
          <a:solidFill>
            <a:srgbClr val="0000CC"/>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0000CC"/>
            </a:extrusionClr>
          </a:sp3d>
        </p:spPr>
        <p:txBody>
          <a:bodyPr wrap="none" anchor="ctr">
            <a:flatTx/>
          </a:bodyPr>
          <a:lstStyle/>
          <a:p>
            <a:endParaRPr lang="de-DE"/>
          </a:p>
        </p:txBody>
      </p:sp>
      <p:sp>
        <p:nvSpPr>
          <p:cNvPr id="34" name="Line 17"/>
          <p:cNvSpPr>
            <a:spLocks noChangeShapeType="1"/>
          </p:cNvSpPr>
          <p:nvPr>
            <p:custDataLst>
              <p:tags r:id="rId11"/>
            </p:custDataLst>
          </p:nvPr>
        </p:nvSpPr>
        <p:spPr bwMode="auto">
          <a:xfrm>
            <a:off x="9505252" y="1857657"/>
            <a:ext cx="14941" cy="3068208"/>
          </a:xfrm>
          <a:prstGeom prst="line">
            <a:avLst/>
          </a:prstGeom>
          <a:noFill/>
          <a:ln w="38100">
            <a:solidFill>
              <a:srgbClr val="FF0000"/>
            </a:solidFill>
            <a:round/>
            <a:headEnd type="triangle" w="med" len="med"/>
            <a:tailEnd type="triangle" w="med" len="med"/>
          </a:ln>
          <a:extLst>
            <a:ext uri="{909E8E84-426E-40dd-AFC4-6F175D3DCCD1}">
              <a14:hiddenFill xmlns:a14="http://schemas.microsoft.com/office/drawing/2010/main" xmlns="">
                <a:noFill/>
              </a14:hiddenFill>
            </a:ext>
          </a:extLst>
        </p:spPr>
        <p:txBody>
          <a:bodyPr/>
          <a:lstStyle/>
          <a:p>
            <a:endParaRPr lang="de-DE"/>
          </a:p>
        </p:txBody>
      </p:sp>
      <p:sp>
        <p:nvSpPr>
          <p:cNvPr id="35" name="Rectangle 18"/>
          <p:cNvSpPr>
            <a:spLocks noChangeAspect="1" noChangeArrowheads="1"/>
          </p:cNvSpPr>
          <p:nvPr>
            <p:custDataLst>
              <p:tags r:id="rId12"/>
            </p:custDataLst>
          </p:nvPr>
        </p:nvSpPr>
        <p:spPr bwMode="auto">
          <a:xfrm rot="16200000">
            <a:off x="8869228" y="3520495"/>
            <a:ext cx="917486"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36000" tIns="0" rIns="36000" bIns="0">
            <a:spAutoFit/>
          </a:bodyPr>
          <a:lstStyle/>
          <a:p>
            <a:pPr>
              <a:buClr>
                <a:srgbClr val="FF9900"/>
              </a:buClr>
            </a:pPr>
            <a:r>
              <a:rPr lang="en-GB" sz="1000" b="1" dirty="0">
                <a:solidFill>
                  <a:srgbClr val="FF0000"/>
                </a:solidFill>
              </a:rPr>
              <a:t>Communication</a:t>
            </a:r>
            <a:endParaRPr lang="en-US" sz="1000" b="1" dirty="0">
              <a:solidFill>
                <a:srgbClr val="FF0000"/>
              </a:solidFill>
            </a:endParaRPr>
          </a:p>
        </p:txBody>
      </p:sp>
      <p:sp>
        <p:nvSpPr>
          <p:cNvPr id="5" name="Foliennummernplatzhalter 4"/>
          <p:cNvSpPr>
            <a:spLocks noGrp="1"/>
          </p:cNvSpPr>
          <p:nvPr>
            <p:ph type="sldNum" sz="quarter" idx="12"/>
          </p:nvPr>
        </p:nvSpPr>
        <p:spPr/>
        <p:txBody>
          <a:bodyPr/>
          <a:lstStyle/>
          <a:p>
            <a:fld id="{09AD34A2-EE0D-B74D-A5FF-4EBBE21DF867}" type="slidenum">
              <a:rPr lang="de-DE" smtClean="0"/>
              <a:t>6</a:t>
            </a:fld>
            <a:endParaRPr lang="de-DE"/>
          </a:p>
        </p:txBody>
      </p:sp>
      <p:sp>
        <p:nvSpPr>
          <p:cNvPr id="25" name="Textplatzhalter 1"/>
          <p:cNvSpPr txBox="1">
            <a:spLocks/>
          </p:cNvSpPr>
          <p:nvPr/>
        </p:nvSpPr>
        <p:spPr>
          <a:xfrm>
            <a:off x="2244000" y="5015734"/>
            <a:ext cx="6946892" cy="540000"/>
          </a:xfrm>
          <a:prstGeom prst="rect">
            <a:avLst/>
          </a:prstGeom>
        </p:spPr>
        <p:txBody>
          <a:bodyPr vert="horz" lIns="0" tIns="45720" rIns="91440" bIns="45720" rtlCol="0" anchor="ctr"/>
          <a:lstStyle>
            <a:defPPr>
              <a:defRPr lang="de-DE"/>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de-DE" sz="2000" b="1" dirty="0">
                <a:solidFill>
                  <a:srgbClr val="FF9900"/>
                </a:solidFill>
                <a:latin typeface="Arial"/>
                <a:ea typeface="MS PGothic" charset="0"/>
                <a:cs typeface="Arial"/>
              </a:rPr>
              <a:t>Previous technology –Sustainment of benefits</a:t>
            </a:r>
            <a:endParaRPr lang="de-DE" sz="2000" b="1" dirty="0">
              <a:solidFill>
                <a:srgbClr val="FF9900"/>
              </a:solidFill>
              <a:latin typeface="Arial"/>
              <a:cs typeface="Arial"/>
            </a:endParaRPr>
          </a:p>
        </p:txBody>
      </p:sp>
      <p:sp>
        <p:nvSpPr>
          <p:cNvPr id="28" name="Rectangle 3"/>
          <p:cNvSpPr txBox="1">
            <a:spLocks noChangeArrowheads="1"/>
          </p:cNvSpPr>
          <p:nvPr/>
        </p:nvSpPr>
        <p:spPr>
          <a:xfrm>
            <a:off x="2244000" y="5410830"/>
            <a:ext cx="5418000" cy="1228130"/>
          </a:xfrm>
          <a:prstGeom prst="rect">
            <a:avLst/>
          </a:prstGeom>
        </p:spPr>
        <p:txBody>
          <a:bodyPr vert="horz" lIns="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r>
              <a:rPr lang="de-DE" sz="1200" dirty="0">
                <a:solidFill>
                  <a:srgbClr val="FF9900"/>
                </a:solidFill>
                <a:latin typeface="Arial" pitchFamily="34" charset="0"/>
              </a:rPr>
              <a:t>•</a:t>
            </a:r>
            <a:r>
              <a:rPr lang="de-DE" sz="1200" dirty="0">
                <a:latin typeface="Arial" pitchFamily="34" charset="0"/>
              </a:rPr>
              <a:t> </a:t>
            </a:r>
            <a:r>
              <a:rPr lang="de-DE" sz="1200" dirty="0">
                <a:solidFill>
                  <a:schemeClr val="tx1"/>
                </a:solidFill>
                <a:latin typeface="Arial"/>
                <a:ea typeface="MS PGothic" charset="0"/>
                <a:cs typeface="Arial"/>
              </a:rPr>
              <a:t>Point-</a:t>
            </a:r>
            <a:r>
              <a:rPr lang="de-DE" sz="1200" dirty="0" err="1">
                <a:solidFill>
                  <a:schemeClr val="tx1"/>
                </a:solidFill>
                <a:latin typeface="Arial"/>
                <a:ea typeface="MS PGothic" charset="0"/>
                <a:cs typeface="Arial"/>
              </a:rPr>
              <a:t>to</a:t>
            </a:r>
            <a:r>
              <a:rPr lang="de-DE" sz="1200" dirty="0">
                <a:solidFill>
                  <a:schemeClr val="tx1"/>
                </a:solidFill>
                <a:latin typeface="Arial"/>
                <a:ea typeface="MS PGothic" charset="0"/>
                <a:cs typeface="Arial"/>
              </a:rPr>
              <a:t>-point </a:t>
            </a:r>
            <a:r>
              <a:rPr lang="de-DE" sz="1200" dirty="0" err="1">
                <a:solidFill>
                  <a:schemeClr val="tx1"/>
                </a:solidFill>
                <a:latin typeface="Arial"/>
                <a:ea typeface="MS PGothic" charset="0"/>
                <a:cs typeface="Arial"/>
              </a:rPr>
              <a:t>connection</a:t>
            </a:r>
            <a:r>
              <a:rPr lang="de-DE" sz="1200" dirty="0">
                <a:solidFill>
                  <a:schemeClr val="tx1"/>
                </a:solidFill>
                <a:latin typeface="Arial"/>
                <a:ea typeface="MS PGothic" charset="0"/>
                <a:cs typeface="Arial"/>
              </a:rPr>
              <a:t> </a:t>
            </a:r>
            <a:r>
              <a:rPr lang="de-DE" sz="1200" dirty="0" err="1">
                <a:solidFill>
                  <a:schemeClr val="tx1"/>
                </a:solidFill>
                <a:latin typeface="Arial"/>
                <a:ea typeface="MS PGothic" charset="0"/>
                <a:cs typeface="Arial"/>
              </a:rPr>
              <a:t>remains</a:t>
            </a:r>
            <a:endParaRPr lang="de-DE" sz="1200" dirty="0">
              <a:solidFill>
                <a:schemeClr val="tx1"/>
              </a:solidFill>
              <a:latin typeface="Arial"/>
              <a:ea typeface="MS PGothic" charset="0"/>
              <a:cs typeface="Arial"/>
            </a:endParaRPr>
          </a:p>
          <a:p>
            <a:pPr algn="l"/>
            <a:r>
              <a:rPr lang="de-DE" sz="1200" dirty="0">
                <a:solidFill>
                  <a:srgbClr val="FF9900"/>
                </a:solidFill>
                <a:latin typeface="Arial" pitchFamily="34" charset="0"/>
              </a:rPr>
              <a:t>•</a:t>
            </a:r>
            <a:r>
              <a:rPr lang="de-DE" sz="1200" dirty="0">
                <a:latin typeface="Arial" pitchFamily="34" charset="0"/>
              </a:rPr>
              <a:t> </a:t>
            </a:r>
            <a:r>
              <a:rPr lang="de-DE" sz="1200" dirty="0">
                <a:solidFill>
                  <a:schemeClr val="tx1"/>
                </a:solidFill>
                <a:latin typeface="Arial"/>
                <a:ea typeface="MS PGothic" charset="0"/>
                <a:cs typeface="Arial"/>
              </a:rPr>
              <a:t>Easy integration of well-established fieldbus systems</a:t>
            </a:r>
          </a:p>
          <a:p>
            <a:pPr algn="l"/>
            <a:r>
              <a:rPr lang="de-DE" sz="1200" dirty="0">
                <a:solidFill>
                  <a:srgbClr val="FF9900"/>
                </a:solidFill>
                <a:latin typeface="Arial" pitchFamily="34" charset="0"/>
              </a:rPr>
              <a:t>•</a:t>
            </a:r>
            <a:r>
              <a:rPr lang="de-DE" sz="1200" dirty="0">
                <a:latin typeface="Arial" pitchFamily="34" charset="0"/>
              </a:rPr>
              <a:t> </a:t>
            </a:r>
            <a:r>
              <a:rPr lang="de-DE" sz="1200" dirty="0">
                <a:solidFill>
                  <a:schemeClr val="tx1"/>
                </a:solidFill>
                <a:latin typeface="Arial"/>
                <a:ea typeface="MS PGothic" charset="0"/>
                <a:cs typeface="Arial"/>
              </a:rPr>
              <a:t>Full coverage of sensors and actuators functionalities </a:t>
            </a:r>
          </a:p>
          <a:p>
            <a:pPr algn="l"/>
            <a:r>
              <a:rPr lang="de-DE" sz="1200" dirty="0">
                <a:solidFill>
                  <a:srgbClr val="FF9900"/>
                </a:solidFill>
                <a:latin typeface="Arial" pitchFamily="34" charset="0"/>
              </a:rPr>
              <a:t>•</a:t>
            </a:r>
            <a:r>
              <a:rPr lang="de-DE" sz="1200" dirty="0">
                <a:latin typeface="Arial" pitchFamily="34" charset="0"/>
              </a:rPr>
              <a:t> </a:t>
            </a:r>
            <a:r>
              <a:rPr lang="de-DE" sz="1200" dirty="0">
                <a:solidFill>
                  <a:schemeClr val="tx1"/>
                </a:solidFill>
                <a:latin typeface="Arial"/>
                <a:ea typeface="MS PGothic" charset="0"/>
                <a:cs typeface="Arial"/>
              </a:rPr>
              <a:t>Good market coverage, manufactorer variety</a:t>
            </a:r>
          </a:p>
          <a:p>
            <a:pPr algn="l"/>
            <a:r>
              <a:rPr lang="de-DE" sz="1200" dirty="0">
                <a:solidFill>
                  <a:srgbClr val="FF9900"/>
                </a:solidFill>
                <a:latin typeface="Arial" pitchFamily="34" charset="0"/>
              </a:rPr>
              <a:t>•</a:t>
            </a:r>
            <a:r>
              <a:rPr lang="de-DE" sz="1200" dirty="0">
                <a:latin typeface="Arial" pitchFamily="34" charset="0"/>
              </a:rPr>
              <a:t> </a:t>
            </a:r>
            <a:r>
              <a:rPr lang="de-DE" sz="1200" dirty="0">
                <a:solidFill>
                  <a:schemeClr val="tx1"/>
                </a:solidFill>
                <a:latin typeface="Arial"/>
                <a:ea typeface="MS PGothic" charset="0"/>
                <a:cs typeface="Arial"/>
              </a:rPr>
              <a:t>Simple 3-wire connection</a:t>
            </a:r>
            <a:endParaRPr lang="en-US" sz="1200" dirty="0">
              <a:solidFill>
                <a:schemeClr val="tx1"/>
              </a:solidFill>
              <a:latin typeface="Arial"/>
              <a:ea typeface="MS PGothic" charset="0"/>
              <a:cs typeface="Arial"/>
            </a:endParaRPr>
          </a:p>
        </p:txBody>
      </p:sp>
      <p:sp>
        <p:nvSpPr>
          <p:cNvPr id="36" name="Rectangle 7"/>
          <p:cNvSpPr>
            <a:spLocks noChangeArrowheads="1"/>
          </p:cNvSpPr>
          <p:nvPr>
            <p:custDataLst>
              <p:tags r:id="rId13"/>
            </p:custDataLst>
          </p:nvPr>
        </p:nvSpPr>
        <p:spPr bwMode="auto">
          <a:xfrm>
            <a:off x="4066976" y="4476140"/>
            <a:ext cx="120572" cy="101440"/>
          </a:xfrm>
          <a:prstGeom prst="rect">
            <a:avLst/>
          </a:prstGeom>
          <a:solidFill>
            <a:srgbClr val="0000CC"/>
          </a:solidFill>
          <a:ln w="9525">
            <a:miter lim="800000"/>
            <a:headEnd/>
            <a:tailEnd/>
          </a:ln>
          <a:scene3d>
            <a:camera prst="legacyObliqueTopRight"/>
            <a:lightRig rig="legacyFlat3" dir="b"/>
          </a:scene3d>
          <a:sp3d extrusionH="100000" prstMaterial="legacyMatte">
            <a:bevelT w="13500" h="13500" prst="angle"/>
            <a:bevelB w="13500" h="13500" prst="angle"/>
            <a:extrusionClr>
              <a:srgbClr val="0000CC"/>
            </a:extrusionClr>
          </a:sp3d>
        </p:spPr>
        <p:txBody>
          <a:bodyPr wrap="none" anchor="ctr">
            <a:flatTx/>
          </a:bodyPr>
          <a:lstStyle/>
          <a:p>
            <a:endParaRPr lang="de-DE"/>
          </a:p>
        </p:txBody>
      </p:sp>
    </p:spTree>
    <p:extLst>
      <p:ext uri="{BB962C8B-B14F-4D97-AF65-F5344CB8AC3E}">
        <p14:creationId xmlns:p14="http://schemas.microsoft.com/office/powerpoint/2010/main" val="1699493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grpId="0" nodeType="clickEffect">
                                  <p:stCondLst>
                                    <p:cond delay="0"/>
                                  </p:stCondLst>
                                  <p:childTnLst>
                                    <p:animMotion origin="layout" path="M -4.16667E-6 1.48148E-6 L 0.03646 1.48148E-6 L 0.03646 -0.30602 L 0.27066 -0.30787 L 0.27066 -0.38148 L 0.27066 -0.38125 " pathEditMode="relative" rAng="0" ptsTypes="AAAAAA">
                                      <p:cBhvr>
                                        <p:cTn id="6" dur="2000" fill="hold"/>
                                        <p:tgtEl>
                                          <p:spTgt spid="26"/>
                                        </p:tgtEl>
                                        <p:attrNameLst>
                                          <p:attrName>ppt_x</p:attrName>
                                          <p:attrName>ppt_y</p:attrName>
                                        </p:attrNameLst>
                                      </p:cBhvr>
                                      <p:rCtr x="13524" y="-19074"/>
                                    </p:animMotion>
                                  </p:childTnLst>
                                </p:cTn>
                              </p:par>
                            </p:childTnLst>
                          </p:cTn>
                        </p:par>
                      </p:childTnLst>
                    </p:cTn>
                  </p:par>
                  <p:par>
                    <p:cTn id="7" fill="hold">
                      <p:stCondLst>
                        <p:cond delay="indefinite"/>
                      </p:stCondLst>
                      <p:childTnLst>
                        <p:par>
                          <p:cTn id="8" fill="hold">
                            <p:stCondLst>
                              <p:cond delay="0"/>
                            </p:stCondLst>
                            <p:childTnLst>
                              <p:par>
                                <p:cTn id="9" presetID="0" presetClass="path" presetSubtype="0" accel="50000" decel="50000" fill="hold" grpId="0" nodeType="clickEffect">
                                  <p:stCondLst>
                                    <p:cond delay="0"/>
                                  </p:stCondLst>
                                  <p:childTnLst>
                                    <p:animMotion origin="layout" path="M 0 0 L -0.00243 -0.07014 L -0.0158 -0.07338 L -0.0158 -0.29931 L 0.21684 -0.30255 L 0.21823 -0.38542 " pathEditMode="relative" ptsTypes="AAAAAA">
                                      <p:cBhvr>
                                        <p:cTn id="10" dur="2000" fill="hold"/>
                                        <p:tgtEl>
                                          <p:spTgt spid="27"/>
                                        </p:tgtEl>
                                        <p:attrNameLst>
                                          <p:attrName>ppt_x</p:attrName>
                                          <p:attrName>ppt_y</p:attrName>
                                        </p:attrNameLst>
                                      </p:cBhvr>
                                    </p:animMotion>
                                  </p:childTnLst>
                                </p:cTn>
                              </p:par>
                            </p:childTnLst>
                          </p:cTn>
                        </p:par>
                      </p:childTnLst>
                    </p:cTn>
                  </p:par>
                  <p:par>
                    <p:cTn id="11" fill="hold">
                      <p:stCondLst>
                        <p:cond delay="indefinite"/>
                      </p:stCondLst>
                      <p:childTnLst>
                        <p:par>
                          <p:cTn id="12" fill="hold">
                            <p:stCondLst>
                              <p:cond delay="0"/>
                            </p:stCondLst>
                            <p:childTnLst>
                              <p:par>
                                <p:cTn id="13" presetID="0" presetClass="path" presetSubtype="0" accel="50000" decel="50000" fill="hold" grpId="0" nodeType="clickEffect">
                                  <p:stCondLst>
                                    <p:cond delay="0"/>
                                  </p:stCondLst>
                                  <p:childTnLst>
                                    <p:animMotion origin="layout" path="M 0 0 L 0.00122 -0.04723 L -0.04496 -0.04723 L -0.04496 -0.30579 L 0.18664 -0.31065 L 0.18403 -0.38704 " pathEditMode="relative" ptsTypes="AAAAAA">
                                      <p:cBhvr>
                                        <p:cTn id="14" dur="2000" fill="hold"/>
                                        <p:tgtEl>
                                          <p:spTgt spid="29"/>
                                        </p:tgtEl>
                                        <p:attrNameLst>
                                          <p:attrName>ppt_x</p:attrName>
                                          <p:attrName>ppt_y</p:attrName>
                                        </p:attrNameLst>
                                      </p:cBhvr>
                                    </p:animMotion>
                                  </p:childTnLst>
                                </p:cTn>
                              </p:par>
                            </p:childTnLst>
                          </p:cTn>
                        </p:par>
                      </p:childTnLst>
                    </p:cTn>
                  </p:par>
                  <p:par>
                    <p:cTn id="15" fill="hold">
                      <p:stCondLst>
                        <p:cond delay="indefinite"/>
                      </p:stCondLst>
                      <p:childTnLst>
                        <p:par>
                          <p:cTn id="16" fill="hold">
                            <p:stCondLst>
                              <p:cond delay="0"/>
                            </p:stCondLst>
                            <p:childTnLst>
                              <p:par>
                                <p:cTn id="17" presetID="0" presetClass="path" presetSubtype="0" accel="50000" decel="50000" fill="hold" grpId="0" nodeType="clickEffect">
                                  <p:stCondLst>
                                    <p:cond delay="0"/>
                                  </p:stCondLst>
                                  <p:childTnLst>
                                    <p:animMotion origin="layout" path="M 3.88889E-6 -3.7037E-7 L -0.00243 -0.04723 L -0.09132 -0.05047 L -0.09254 -0.29769 L 0.14045 -0.29769 L 0.13906 -0.37894 L 0.13906 -0.37408 " pathEditMode="relative" ptsTypes="AAAAAAA">
                                      <p:cBhvr>
                                        <p:cTn id="18" dur="2000" fill="hold"/>
                                        <p:tgtEl>
                                          <p:spTgt spid="36"/>
                                        </p:tgtEl>
                                        <p:attrNameLst>
                                          <p:attrName>ppt_x</p:attrName>
                                          <p:attrName>ppt_y</p:attrName>
                                        </p:attrNameLst>
                                      </p:cBhvr>
                                    </p:animMotion>
                                  </p:childTnLst>
                                </p:cTn>
                              </p:par>
                            </p:childTnLst>
                          </p:cTn>
                        </p:par>
                      </p:childTnLst>
                    </p:cTn>
                  </p:par>
                  <p:par>
                    <p:cTn id="19" fill="hold">
                      <p:stCondLst>
                        <p:cond delay="indefinite"/>
                      </p:stCondLst>
                      <p:childTnLst>
                        <p:par>
                          <p:cTn id="20" fill="hold">
                            <p:stCondLst>
                              <p:cond delay="0"/>
                            </p:stCondLst>
                            <p:childTnLst>
                              <p:par>
                                <p:cTn id="21" presetID="0" presetClass="path" presetSubtype="0" accel="50000" decel="50000" fill="hold" grpId="0" nodeType="clickEffect">
                                  <p:stCondLst>
                                    <p:cond delay="0"/>
                                  </p:stCondLst>
                                  <p:childTnLst>
                                    <p:animMotion origin="layout" path="M 0 0 L 0 0 C 0.00052 -0.05208 0.00052 -0.10416 0.00122 -0.15625 C 0.00139 -0.15787 0.00226 -0.15949 0.00261 -0.16111 C 0.00538 -0.17824 0.00226 -0.16481 0.00504 -0.17569 C 0.00538 -0.18009 0.00573 -0.18449 0.00625 -0.18865 C 0.0066 -0.19213 0.00747 -0.19514 0.00747 -0.19861 C 0.00747 -0.20393 0.00677 -0.20949 0.00625 -0.21481 C 0.0059 -0.21643 0.00556 -0.21828 0.00504 -0.21967 C 0.00434 -0.22106 0.00261 -0.22291 0.00261 -0.22291 L 0.00261 -0.22291 C -0.00642 -0.22338 -0.01545 -0.22361 -0.0243 -0.22453 C -0.04948 -0.22685 -0.01944 -0.22523 -0.03889 -0.22777 C -0.04097 -0.22801 -0.04305 -0.22777 -0.04496 -0.22777 L -0.04375 -0.22777 C -0.0434 -0.23426 -0.04305 -0.24074 -0.04253 -0.24722 C -0.04219 -0.25486 -0.04201 -0.2625 -0.04132 -0.27014 C -0.04114 -0.27222 -0.04045 -0.2743 -0.0401 -0.27662 C -0.03958 -0.28032 -0.03941 -0.28426 -0.03889 -0.28796 C -0.03941 -0.29074 -0.03871 -0.29814 -0.0401 -0.29606 C -0.04149 -0.29444 -0.04132 -0.28703 -0.04132 -0.2831 L -0.04132 -0.2831 C -0.00295 -0.28819 -0.03333 -0.28472 0.05017 -0.28472 L 0.05017 -0.28472 C 0.03854 -0.33125 0.04045 -0.31203 0.04392 -0.38055 C 0.04427 -0.38564 0.04757 -0.38611 0.05017 -0.38703 C 0.0467 -0.38264 0.04757 -0.38541 0.04757 -0.37893 L 0.04757 -0.37893 " pathEditMode="relative" ptsTypes="AAAAAAAAAAAAAAAAAAAAAAAAAAAA">
                                      <p:cBhvr>
                                        <p:cTn id="22" dur="2000" fill="hold"/>
                                        <p:tgtEl>
                                          <p:spTgt spid="30"/>
                                        </p:tgtEl>
                                        <p:attrNameLst>
                                          <p:attrName>ppt_x</p:attrName>
                                          <p:attrName>ppt_y</p:attrName>
                                        </p:attrNameLst>
                                      </p:cBhvr>
                                    </p:animMotion>
                                  </p:childTnLst>
                                </p:cTn>
                              </p:par>
                            </p:childTnLst>
                          </p:cTn>
                        </p:par>
                      </p:childTnLst>
                    </p:cTn>
                  </p:par>
                  <p:par>
                    <p:cTn id="23" fill="hold">
                      <p:stCondLst>
                        <p:cond delay="indefinite"/>
                      </p:stCondLst>
                      <p:childTnLst>
                        <p:par>
                          <p:cTn id="24" fill="hold">
                            <p:stCondLst>
                              <p:cond delay="0"/>
                            </p:stCondLst>
                            <p:childTnLst>
                              <p:par>
                                <p:cTn id="25" presetID="0" presetClass="path" presetSubtype="0" accel="50000" decel="50000" fill="hold" grpId="0" nodeType="clickEffect">
                                  <p:stCondLst>
                                    <p:cond delay="0"/>
                                  </p:stCondLst>
                                  <p:childTnLst>
                                    <p:animMotion origin="layout" path="M 0 0 L 0 0 C 0.004 -0.04791 0 0.00556 0 -0.10741 C 0 -0.13565 0.00018 -0.16389 0.00122 -0.19213 C 0.00122 -0.19213 0.00417 -0.20416 0.00487 -0.20671 C 0.00521 -0.20833 0.00608 -0.20972 0.00608 -0.21157 L 0.00608 -0.21967 L 0.00608 -0.21967 C -0.02152 -0.22315 0.00435 -0.21875 -0.01597 -0.22453 C -0.02256 -0.22639 -0.03472 -0.22731 -0.04027 -0.22778 C -0.04513 -0.22731 -0.05 -0.22685 -0.05503 -0.22616 C -0.05538 -0.22616 -0.06493 -0.22361 -0.06597 -0.22291 C -0.06631 -0.22268 -0.06597 -0.22176 -0.06597 -0.22129 L -0.06597 -0.22129 C -0.06631 -0.23264 -0.06649 -0.24398 -0.06718 -0.25555 C -0.06909 -0.28935 -0.0684 -0.23078 -0.0684 -0.28148 L -0.0684 -0.28148 C -0.06423 -0.28264 -0.06024 -0.28379 -0.05625 -0.28472 C -0.04843 -0.28657 -0.03298 -0.28958 -0.03298 -0.28958 C -0.02743 -0.28935 -0.00833 -0.28958 0.00122 -0.28634 C 0.00539 -0.28495 0.0106 -0.28194 0.01459 -0.27986 C 0.02431 -0.28171 0.02119 -0.2787 0.02553 -0.28472 L 0.02553 -0.28472 C 0.01997 -0.29977 0.01945 -0.29699 0.01945 -0.31574 C 0.01945 -0.32916 0.0198 -0.34282 0.02066 -0.35625 C 0.02101 -0.35972 0.02153 -0.36342 0.0231 -0.36597 C 0.02709 -0.37315 0.02535 -0.3706 0.02813 -0.37407 L 0.02813 -0.37407 " pathEditMode="relative" ptsTypes="AAAAAAAAAAAAAAAAAAAAAAAAAAAA">
                                      <p:cBhvr>
                                        <p:cTn id="26" dur="2000" fill="hold"/>
                                        <p:tgtEl>
                                          <p:spTgt spid="31"/>
                                        </p:tgtEl>
                                        <p:attrNameLst>
                                          <p:attrName>ppt_x</p:attrName>
                                          <p:attrName>ppt_y</p:attrName>
                                        </p:attrNameLst>
                                      </p:cBhvr>
                                    </p:animMotion>
                                  </p:childTnLst>
                                </p:cTn>
                              </p:par>
                            </p:childTnLst>
                          </p:cTn>
                        </p:par>
                      </p:childTnLst>
                    </p:cTn>
                  </p:par>
                  <p:par>
                    <p:cTn id="27" fill="hold">
                      <p:stCondLst>
                        <p:cond delay="indefinite"/>
                      </p:stCondLst>
                      <p:childTnLst>
                        <p:par>
                          <p:cTn id="28" fill="hold">
                            <p:stCondLst>
                              <p:cond delay="0"/>
                            </p:stCondLst>
                            <p:childTnLst>
                              <p:par>
                                <p:cTn id="29" presetID="0" presetClass="path" presetSubtype="0" accel="50000" decel="50000" fill="hold" grpId="0" nodeType="clickEffect">
                                  <p:stCondLst>
                                    <p:cond delay="0"/>
                                  </p:stCondLst>
                                  <p:childTnLst>
                                    <p:animMotion origin="layout" path="M 0 0 L 0 0 L 0 -0.04884 L 0 -0.05047 L 0.03177 -0.05209 C 0.03577 -0.05255 0.03993 -0.05301 0.04393 -0.05371 C 0.05313 -0.05556 0.04948 -0.05533 0.04757 -0.05533 L 0.04757 -0.05533 C 0.04722 -0.07593 0.04688 -0.09653 0.04636 -0.11713 C 0.04601 -0.12801 0.04532 -0.13889 0.04514 -0.14977 C 0.04497 -0.16273 0.04514 -0.1757 0.04514 -0.18866 L 0.04757 -0.1919 L -0.15364 -0.19352 C -0.15972 -0.19375 -0.1658 -0.19445 -0.17187 -0.19514 C -0.17396 -0.1956 -0.17587 -0.19676 -0.17795 -0.19676 C -0.18524 -0.19722 -0.19253 -0.19676 -0.19982 -0.19676 L -0.19982 -0.19676 C -0.20104 -0.20232 -0.20278 -0.20764 -0.20347 -0.2132 C -0.20434 -0.21945 -0.20416 -0.22616 -0.20468 -0.23264 C -0.20503 -0.23588 -0.20555 -0.23912 -0.2059 -0.24236 C -0.20555 -0.25972 -0.20538 -0.27709 -0.20468 -0.29445 C -0.20468 -0.29769 -0.20416 -0.30093 -0.20347 -0.30417 C -0.20208 -0.31297 -0.20225 -0.30556 -0.20225 -0.31227 L -0.20225 -0.31227 L -0.11093 -0.31227 L -0.11093 -0.31227 C -0.11128 -0.32593 -0.11128 -0.33935 -0.11215 -0.35301 C -0.1125 -0.35949 -0.11389 -0.36597 -0.11458 -0.37246 L -0.1158 -0.3838 C -0.11545 -0.38982 -0.11528 -0.39584 -0.11458 -0.40162 C -0.11319 -0.41435 -0.11337 -0.40255 -0.11337 -0.4081 L -0.11337 -0.4081 " pathEditMode="relative" ptsTypes="AAAAAAAAAAAAAAAAAAAAAAAAAAAAAAAA">
                                      <p:cBhvr>
                                        <p:cTn id="30" dur="2000" fill="hold"/>
                                        <p:tgtEl>
                                          <p:spTgt spid="32"/>
                                        </p:tgtEl>
                                        <p:attrNameLst>
                                          <p:attrName>ppt_x</p:attrName>
                                          <p:attrName>ppt_y</p:attrName>
                                        </p:attrNameLst>
                                      </p:cBhvr>
                                    </p:animMotion>
                                  </p:childTnLst>
                                </p:cTn>
                              </p:par>
                            </p:childTnLst>
                          </p:cTn>
                        </p:par>
                      </p:childTnLst>
                    </p:cTn>
                  </p:par>
                  <p:par>
                    <p:cTn id="31" fill="hold">
                      <p:stCondLst>
                        <p:cond delay="indefinite"/>
                      </p:stCondLst>
                      <p:childTnLst>
                        <p:par>
                          <p:cTn id="32" fill="hold">
                            <p:stCondLst>
                              <p:cond delay="0"/>
                            </p:stCondLst>
                            <p:childTnLst>
                              <p:par>
                                <p:cTn id="33" presetID="0" presetClass="path" presetSubtype="0" accel="50000" decel="50000" fill="hold" grpId="0" nodeType="clickEffect">
                                  <p:stCondLst>
                                    <p:cond delay="0"/>
                                  </p:stCondLst>
                                  <p:childTnLst>
                                    <p:animMotion origin="layout" path="M 0 0 L 0 0 L 0 -0.04074 L 0 -0.04399 C -0.00382 -0.04445 -0.00747 -0.04491 -0.01111 -0.04561 C -0.01354 -0.04607 -0.01597 -0.04699 -0.0184 -0.04723 C -0.02205 -0.04769 -0.0257 -0.04723 -0.02934 -0.04723 L -0.02691 -0.04885 C -0.0224 -0.10232 -0.0257 -0.05857 -0.0257 -0.18056 L -0.0257 -0.18056 C -0.06649 -0.18565 -0.04358 -0.18334 -0.1257 -0.18056 C -0.12865 -0.18056 -0.13143 -0.17917 -0.1342 -0.17894 C -0.16181 -0.17801 -0.18959 -0.17778 -0.21719 -0.17732 C -0.24462 -0.17223 -0.22292 -0.1757 -0.28299 -0.1757 L -0.28299 -0.1757 C -0.28646 -0.21667 -0.28524 -0.19561 -0.28299 -0.275 C -0.28299 -0.27709 -0.28229 -0.27917 -0.28177 -0.28149 C -0.28143 -0.28681 -0.28125 -0.29237 -0.28056 -0.29769 C -0.28038 -0.29931 -0.27934 -0.30255 -0.27934 -0.30255 L -0.27934 -0.30255 C -0.2684 -0.30209 -0.25747 -0.30186 -0.24653 -0.30093 C -0.24479 -0.3007 -0.24323 -0.29954 -0.24167 -0.29931 C -0.23559 -0.29838 -0.22934 -0.29815 -0.22327 -0.29769 C -0.20469 -0.29306 -0.21441 -0.29445 -0.1941 -0.29445 L -0.1941 -0.29445 C -0.19445 -0.30093 -0.19462 -0.30741 -0.19531 -0.31389 C -0.19653 -0.33033 -0.19601 -0.3176 -0.19774 -0.3301 C -0.19879 -0.33797 -0.19948 -0.34862 -0.20018 -0.35625 C -0.20052 -0.36065 -0.20087 -0.36482 -0.20139 -0.36922 L -0.20018 -0.4 L -0.20018 -0.4 " pathEditMode="relative" ptsTypes="AAAAAAAAAAAAAAAAAAAAAAAAAAAAAAA">
                                      <p:cBhvr>
                                        <p:cTn id="34" dur="2000" fill="hold"/>
                                        <p:tgtEl>
                                          <p:spTgt spid="33"/>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9" grpId="0" animBg="1"/>
      <p:bldP spid="30" grpId="0" animBg="1"/>
      <p:bldP spid="31" grpId="0" animBg="1"/>
      <p:bldP spid="32" grpId="0" animBg="1"/>
      <p:bldP spid="33" grpId="0" animBg="1"/>
      <p:bldP spid="3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de-DE" smtClean="0"/>
              <a:t>pw 12.2015</a:t>
            </a:r>
            <a:endParaRPr lang="de-DE" dirty="0"/>
          </a:p>
        </p:txBody>
      </p:sp>
      <p:sp>
        <p:nvSpPr>
          <p:cNvPr id="5" name="Slide Number Placeholder 4"/>
          <p:cNvSpPr>
            <a:spLocks noGrp="1"/>
          </p:cNvSpPr>
          <p:nvPr>
            <p:ph type="sldNum" sz="quarter" idx="12"/>
          </p:nvPr>
        </p:nvSpPr>
        <p:spPr/>
        <p:txBody>
          <a:bodyPr/>
          <a:lstStyle/>
          <a:p>
            <a:fld id="{09AD34A2-EE0D-B74D-A5FF-4EBBE21DF867}" type="slidenum">
              <a:rPr lang="de-DE" smtClean="0"/>
              <a:t>7</a:t>
            </a:fld>
            <a:endParaRPr lang="de-DE"/>
          </a:p>
        </p:txBody>
      </p:sp>
      <p:grpSp>
        <p:nvGrpSpPr>
          <p:cNvPr id="100" name="Group 99"/>
          <p:cNvGrpSpPr/>
          <p:nvPr/>
        </p:nvGrpSpPr>
        <p:grpSpPr>
          <a:xfrm>
            <a:off x="7333794" y="1372641"/>
            <a:ext cx="1885328" cy="377727"/>
            <a:chOff x="5899230" y="1553110"/>
            <a:chExt cx="1885328" cy="377727"/>
          </a:xfrm>
        </p:grpSpPr>
        <p:sp>
          <p:nvSpPr>
            <p:cNvPr id="101" name="TextBox 100"/>
            <p:cNvSpPr txBox="1"/>
            <p:nvPr/>
          </p:nvSpPr>
          <p:spPr>
            <a:xfrm>
              <a:off x="6860069" y="1553110"/>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02" name="TextBox 101"/>
            <p:cNvSpPr txBox="1"/>
            <p:nvPr/>
          </p:nvSpPr>
          <p:spPr>
            <a:xfrm>
              <a:off x="7333794" y="1558884"/>
              <a:ext cx="450764" cy="369332"/>
            </a:xfrm>
            <a:prstGeom prst="rect">
              <a:avLst/>
            </a:prstGeom>
            <a:noFill/>
          </p:spPr>
          <p:txBody>
            <a:bodyPr wrap="none" rtlCol="0">
              <a:spAutoFit/>
            </a:bodyPr>
            <a:lstStyle/>
            <a:p>
              <a:r>
                <a:rPr lang="en-US" b="1" dirty="0" smtClean="0"/>
                <a:t>Bit</a:t>
              </a:r>
              <a:endParaRPr lang="en-US" b="1" dirty="0"/>
            </a:p>
          </p:txBody>
        </p:sp>
        <p:sp>
          <p:nvSpPr>
            <p:cNvPr id="103" name="TextBox 102"/>
            <p:cNvSpPr txBox="1"/>
            <p:nvPr/>
          </p:nvSpPr>
          <p:spPr>
            <a:xfrm>
              <a:off x="5899230" y="1561505"/>
              <a:ext cx="839653" cy="369332"/>
            </a:xfrm>
            <a:prstGeom prst="rect">
              <a:avLst/>
            </a:prstGeom>
            <a:noFill/>
          </p:spPr>
          <p:txBody>
            <a:bodyPr wrap="none" rtlCol="0">
              <a:spAutoFit/>
            </a:bodyPr>
            <a:lstStyle/>
            <a:p>
              <a:r>
                <a:rPr lang="en-US" dirty="0" smtClean="0"/>
                <a:t>On/Off</a:t>
              </a:r>
              <a:endParaRPr lang="en-US" dirty="0"/>
            </a:p>
          </p:txBody>
        </p:sp>
      </p:grpSp>
      <p:grpSp>
        <p:nvGrpSpPr>
          <p:cNvPr id="104" name="Group 103"/>
          <p:cNvGrpSpPr/>
          <p:nvPr/>
        </p:nvGrpSpPr>
        <p:grpSpPr>
          <a:xfrm>
            <a:off x="1844090" y="2571644"/>
            <a:ext cx="7785762" cy="369332"/>
            <a:chOff x="409526" y="2752113"/>
            <a:chExt cx="7785762" cy="369332"/>
          </a:xfrm>
        </p:grpSpPr>
        <p:sp>
          <p:nvSpPr>
            <p:cNvPr id="105" name="TextBox 104"/>
            <p:cNvSpPr txBox="1"/>
            <p:nvPr/>
          </p:nvSpPr>
          <p:spPr>
            <a:xfrm>
              <a:off x="1393867" y="275211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06" name="TextBox 105"/>
            <p:cNvSpPr txBox="1"/>
            <p:nvPr/>
          </p:nvSpPr>
          <p:spPr>
            <a:xfrm>
              <a:off x="1746406" y="275211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07" name="TextBox 106"/>
            <p:cNvSpPr txBox="1"/>
            <p:nvPr/>
          </p:nvSpPr>
          <p:spPr>
            <a:xfrm>
              <a:off x="2098945" y="275211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08" name="TextBox 107"/>
            <p:cNvSpPr txBox="1"/>
            <p:nvPr/>
          </p:nvSpPr>
          <p:spPr>
            <a:xfrm>
              <a:off x="2451484" y="275211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09" name="TextBox 108"/>
            <p:cNvSpPr txBox="1"/>
            <p:nvPr/>
          </p:nvSpPr>
          <p:spPr>
            <a:xfrm>
              <a:off x="2857274" y="275211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10" name="TextBox 109"/>
            <p:cNvSpPr txBox="1"/>
            <p:nvPr/>
          </p:nvSpPr>
          <p:spPr>
            <a:xfrm>
              <a:off x="3209813" y="275211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11" name="TextBox 110"/>
            <p:cNvSpPr txBox="1"/>
            <p:nvPr/>
          </p:nvSpPr>
          <p:spPr>
            <a:xfrm>
              <a:off x="3562352" y="275211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12" name="TextBox 111"/>
            <p:cNvSpPr txBox="1"/>
            <p:nvPr/>
          </p:nvSpPr>
          <p:spPr>
            <a:xfrm>
              <a:off x="3914891" y="2752113"/>
              <a:ext cx="352539" cy="369332"/>
            </a:xfrm>
            <a:prstGeom prst="rect">
              <a:avLst/>
            </a:prstGeom>
            <a:noFill/>
            <a:ln>
              <a:solidFill>
                <a:schemeClr val="tx1"/>
              </a:solidFill>
            </a:ln>
          </p:spPr>
          <p:txBody>
            <a:bodyPr wrap="square" rtlCol="0">
              <a:spAutoFit/>
            </a:bodyPr>
            <a:lstStyle/>
            <a:p>
              <a:pPr algn="ctr"/>
              <a:r>
                <a:rPr lang="en-US" dirty="0"/>
                <a:t>0</a:t>
              </a:r>
            </a:p>
          </p:txBody>
        </p:sp>
        <p:sp>
          <p:nvSpPr>
            <p:cNvPr id="113" name="TextBox 112"/>
            <p:cNvSpPr txBox="1"/>
            <p:nvPr/>
          </p:nvSpPr>
          <p:spPr>
            <a:xfrm>
              <a:off x="4344552" y="275211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14" name="TextBox 113"/>
            <p:cNvSpPr txBox="1"/>
            <p:nvPr/>
          </p:nvSpPr>
          <p:spPr>
            <a:xfrm>
              <a:off x="4697091" y="2752113"/>
              <a:ext cx="352539" cy="369332"/>
            </a:xfrm>
            <a:prstGeom prst="rect">
              <a:avLst/>
            </a:prstGeom>
            <a:noFill/>
            <a:ln>
              <a:solidFill>
                <a:schemeClr val="tx1"/>
              </a:solidFill>
            </a:ln>
          </p:spPr>
          <p:txBody>
            <a:bodyPr wrap="square" rtlCol="0">
              <a:spAutoFit/>
            </a:bodyPr>
            <a:lstStyle/>
            <a:p>
              <a:pPr algn="ctr"/>
              <a:r>
                <a:rPr lang="en-US" dirty="0"/>
                <a:t>0</a:t>
              </a:r>
            </a:p>
          </p:txBody>
        </p:sp>
        <p:sp>
          <p:nvSpPr>
            <p:cNvPr id="115" name="TextBox 114"/>
            <p:cNvSpPr txBox="1"/>
            <p:nvPr/>
          </p:nvSpPr>
          <p:spPr>
            <a:xfrm>
              <a:off x="5049630" y="2752113"/>
              <a:ext cx="352539" cy="369332"/>
            </a:xfrm>
            <a:prstGeom prst="rect">
              <a:avLst/>
            </a:prstGeom>
            <a:noFill/>
            <a:ln>
              <a:solidFill>
                <a:schemeClr val="tx1"/>
              </a:solidFill>
            </a:ln>
          </p:spPr>
          <p:txBody>
            <a:bodyPr wrap="square" rtlCol="0">
              <a:spAutoFit/>
            </a:bodyPr>
            <a:lstStyle/>
            <a:p>
              <a:pPr algn="ctr"/>
              <a:r>
                <a:rPr lang="en-US" dirty="0"/>
                <a:t>0</a:t>
              </a:r>
            </a:p>
          </p:txBody>
        </p:sp>
        <p:sp>
          <p:nvSpPr>
            <p:cNvPr id="116" name="TextBox 115"/>
            <p:cNvSpPr txBox="1"/>
            <p:nvPr/>
          </p:nvSpPr>
          <p:spPr>
            <a:xfrm>
              <a:off x="5402169" y="2752113"/>
              <a:ext cx="352539" cy="369332"/>
            </a:xfrm>
            <a:prstGeom prst="rect">
              <a:avLst/>
            </a:prstGeom>
            <a:noFill/>
            <a:ln>
              <a:solidFill>
                <a:schemeClr val="tx1"/>
              </a:solidFill>
            </a:ln>
          </p:spPr>
          <p:txBody>
            <a:bodyPr wrap="square" rtlCol="0">
              <a:spAutoFit/>
            </a:bodyPr>
            <a:lstStyle/>
            <a:p>
              <a:pPr algn="ctr"/>
              <a:r>
                <a:rPr lang="en-US" dirty="0"/>
                <a:t>0</a:t>
              </a:r>
            </a:p>
          </p:txBody>
        </p:sp>
        <p:sp>
          <p:nvSpPr>
            <p:cNvPr id="117" name="TextBox 116"/>
            <p:cNvSpPr txBox="1"/>
            <p:nvPr/>
          </p:nvSpPr>
          <p:spPr>
            <a:xfrm>
              <a:off x="5802452" y="2752113"/>
              <a:ext cx="352539" cy="369332"/>
            </a:xfrm>
            <a:prstGeom prst="rect">
              <a:avLst/>
            </a:prstGeom>
            <a:noFill/>
            <a:ln>
              <a:solidFill>
                <a:schemeClr val="tx1"/>
              </a:solidFill>
            </a:ln>
          </p:spPr>
          <p:txBody>
            <a:bodyPr wrap="square" rtlCol="0">
              <a:spAutoFit/>
            </a:bodyPr>
            <a:lstStyle/>
            <a:p>
              <a:pPr algn="ctr"/>
              <a:r>
                <a:rPr lang="en-US" dirty="0"/>
                <a:t>0</a:t>
              </a:r>
            </a:p>
          </p:txBody>
        </p:sp>
        <p:sp>
          <p:nvSpPr>
            <p:cNvPr id="118" name="TextBox 117"/>
            <p:cNvSpPr txBox="1"/>
            <p:nvPr/>
          </p:nvSpPr>
          <p:spPr>
            <a:xfrm>
              <a:off x="6154991" y="2752113"/>
              <a:ext cx="352539" cy="369332"/>
            </a:xfrm>
            <a:prstGeom prst="rect">
              <a:avLst/>
            </a:prstGeom>
            <a:noFill/>
            <a:ln>
              <a:solidFill>
                <a:schemeClr val="tx1"/>
              </a:solidFill>
            </a:ln>
          </p:spPr>
          <p:txBody>
            <a:bodyPr wrap="square" rtlCol="0">
              <a:spAutoFit/>
            </a:bodyPr>
            <a:lstStyle/>
            <a:p>
              <a:pPr algn="ctr"/>
              <a:r>
                <a:rPr lang="en-US" dirty="0"/>
                <a:t>0</a:t>
              </a:r>
            </a:p>
          </p:txBody>
        </p:sp>
        <p:sp>
          <p:nvSpPr>
            <p:cNvPr id="119" name="TextBox 118"/>
            <p:cNvSpPr txBox="1"/>
            <p:nvPr/>
          </p:nvSpPr>
          <p:spPr>
            <a:xfrm>
              <a:off x="6507530" y="2752113"/>
              <a:ext cx="352539" cy="369332"/>
            </a:xfrm>
            <a:prstGeom prst="rect">
              <a:avLst/>
            </a:prstGeom>
            <a:noFill/>
            <a:ln>
              <a:solidFill>
                <a:schemeClr val="tx1"/>
              </a:solidFill>
            </a:ln>
          </p:spPr>
          <p:txBody>
            <a:bodyPr wrap="square" rtlCol="0">
              <a:spAutoFit/>
            </a:bodyPr>
            <a:lstStyle/>
            <a:p>
              <a:pPr algn="ctr"/>
              <a:r>
                <a:rPr lang="en-US" dirty="0"/>
                <a:t>0</a:t>
              </a:r>
            </a:p>
          </p:txBody>
        </p:sp>
        <p:sp>
          <p:nvSpPr>
            <p:cNvPr id="120" name="TextBox 119"/>
            <p:cNvSpPr txBox="1"/>
            <p:nvPr/>
          </p:nvSpPr>
          <p:spPr>
            <a:xfrm>
              <a:off x="6860069" y="2752113"/>
              <a:ext cx="352539" cy="369332"/>
            </a:xfrm>
            <a:prstGeom prst="rect">
              <a:avLst/>
            </a:prstGeom>
            <a:noFill/>
            <a:ln>
              <a:solidFill>
                <a:schemeClr val="tx1"/>
              </a:solidFill>
            </a:ln>
          </p:spPr>
          <p:txBody>
            <a:bodyPr wrap="square" rtlCol="0">
              <a:spAutoFit/>
            </a:bodyPr>
            <a:lstStyle/>
            <a:p>
              <a:pPr algn="ctr"/>
              <a:r>
                <a:rPr lang="en-US" dirty="0" smtClean="0"/>
                <a:t>0</a:t>
              </a:r>
              <a:endParaRPr lang="en-US" dirty="0"/>
            </a:p>
          </p:txBody>
        </p:sp>
        <p:sp>
          <p:nvSpPr>
            <p:cNvPr id="121" name="TextBox 120"/>
            <p:cNvSpPr txBox="1"/>
            <p:nvPr/>
          </p:nvSpPr>
          <p:spPr>
            <a:xfrm>
              <a:off x="7345375" y="2752113"/>
              <a:ext cx="849913" cy="369332"/>
            </a:xfrm>
            <a:prstGeom prst="rect">
              <a:avLst/>
            </a:prstGeom>
            <a:noFill/>
          </p:spPr>
          <p:txBody>
            <a:bodyPr wrap="none" rtlCol="0">
              <a:spAutoFit/>
            </a:bodyPr>
            <a:lstStyle/>
            <a:p>
              <a:r>
                <a:rPr lang="en-US" b="1" dirty="0" smtClean="0"/>
                <a:t>Analog</a:t>
              </a:r>
              <a:endParaRPr lang="en-US" b="1" dirty="0"/>
            </a:p>
          </p:txBody>
        </p:sp>
        <p:sp>
          <p:nvSpPr>
            <p:cNvPr id="122" name="TextBox 121"/>
            <p:cNvSpPr txBox="1"/>
            <p:nvPr/>
          </p:nvSpPr>
          <p:spPr>
            <a:xfrm>
              <a:off x="409526" y="2752113"/>
              <a:ext cx="813043" cy="369332"/>
            </a:xfrm>
            <a:prstGeom prst="rect">
              <a:avLst/>
            </a:prstGeom>
            <a:noFill/>
          </p:spPr>
          <p:txBody>
            <a:bodyPr wrap="none" rtlCol="0">
              <a:spAutoFit/>
            </a:bodyPr>
            <a:lstStyle/>
            <a:p>
              <a:r>
                <a:rPr lang="en-US" dirty="0" smtClean="0"/>
                <a:t>16 bits</a:t>
              </a:r>
              <a:endParaRPr lang="en-US" dirty="0"/>
            </a:p>
          </p:txBody>
        </p:sp>
      </p:grpSp>
      <p:grpSp>
        <p:nvGrpSpPr>
          <p:cNvPr id="123" name="Group 122"/>
          <p:cNvGrpSpPr/>
          <p:nvPr/>
        </p:nvGrpSpPr>
        <p:grpSpPr>
          <a:xfrm>
            <a:off x="2869745" y="3585981"/>
            <a:ext cx="5818741" cy="369332"/>
            <a:chOff x="1077817" y="4656463"/>
            <a:chExt cx="5818741" cy="369332"/>
          </a:xfrm>
        </p:grpSpPr>
        <p:sp>
          <p:nvSpPr>
            <p:cNvPr id="124" name="TextBox 123"/>
            <p:cNvSpPr txBox="1"/>
            <p:nvPr/>
          </p:nvSpPr>
          <p:spPr>
            <a:xfrm>
              <a:off x="1077817"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25" name="TextBox 124"/>
            <p:cNvSpPr txBox="1"/>
            <p:nvPr/>
          </p:nvSpPr>
          <p:spPr>
            <a:xfrm>
              <a:off x="1430356"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26" name="TextBox 125"/>
            <p:cNvSpPr txBox="1"/>
            <p:nvPr/>
          </p:nvSpPr>
          <p:spPr>
            <a:xfrm>
              <a:off x="1782895"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27" name="TextBox 126"/>
            <p:cNvSpPr txBox="1"/>
            <p:nvPr/>
          </p:nvSpPr>
          <p:spPr>
            <a:xfrm>
              <a:off x="2135434"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28" name="TextBox 127"/>
            <p:cNvSpPr txBox="1"/>
            <p:nvPr/>
          </p:nvSpPr>
          <p:spPr>
            <a:xfrm>
              <a:off x="2541224"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29" name="TextBox 128"/>
            <p:cNvSpPr txBox="1"/>
            <p:nvPr/>
          </p:nvSpPr>
          <p:spPr>
            <a:xfrm>
              <a:off x="2893763"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30" name="TextBox 129"/>
            <p:cNvSpPr txBox="1"/>
            <p:nvPr/>
          </p:nvSpPr>
          <p:spPr>
            <a:xfrm>
              <a:off x="3246302"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31" name="TextBox 130"/>
            <p:cNvSpPr txBox="1"/>
            <p:nvPr/>
          </p:nvSpPr>
          <p:spPr>
            <a:xfrm>
              <a:off x="3598841"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32" name="TextBox 131"/>
            <p:cNvSpPr txBox="1"/>
            <p:nvPr/>
          </p:nvSpPr>
          <p:spPr>
            <a:xfrm>
              <a:off x="4028502"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33" name="TextBox 132"/>
            <p:cNvSpPr txBox="1"/>
            <p:nvPr/>
          </p:nvSpPr>
          <p:spPr>
            <a:xfrm>
              <a:off x="4381041"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34" name="TextBox 133"/>
            <p:cNvSpPr txBox="1"/>
            <p:nvPr/>
          </p:nvSpPr>
          <p:spPr>
            <a:xfrm>
              <a:off x="4733580"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35" name="TextBox 134"/>
            <p:cNvSpPr txBox="1"/>
            <p:nvPr/>
          </p:nvSpPr>
          <p:spPr>
            <a:xfrm>
              <a:off x="5086119"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36" name="TextBox 135"/>
            <p:cNvSpPr txBox="1"/>
            <p:nvPr/>
          </p:nvSpPr>
          <p:spPr>
            <a:xfrm>
              <a:off x="5486402"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37" name="TextBox 136"/>
            <p:cNvSpPr txBox="1"/>
            <p:nvPr/>
          </p:nvSpPr>
          <p:spPr>
            <a:xfrm>
              <a:off x="5838941"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38" name="TextBox 137"/>
            <p:cNvSpPr txBox="1"/>
            <p:nvPr/>
          </p:nvSpPr>
          <p:spPr>
            <a:xfrm>
              <a:off x="6191480"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39" name="TextBox 138"/>
            <p:cNvSpPr txBox="1"/>
            <p:nvPr/>
          </p:nvSpPr>
          <p:spPr>
            <a:xfrm>
              <a:off x="6544019" y="4656463"/>
              <a:ext cx="352539" cy="369332"/>
            </a:xfrm>
            <a:prstGeom prst="rect">
              <a:avLst/>
            </a:prstGeom>
            <a:noFill/>
            <a:ln>
              <a:solidFill>
                <a:schemeClr val="tx1"/>
              </a:solidFill>
            </a:ln>
          </p:spPr>
          <p:txBody>
            <a:bodyPr wrap="square" rtlCol="0">
              <a:spAutoFit/>
            </a:bodyPr>
            <a:lstStyle/>
            <a:p>
              <a:pPr algn="ctr"/>
              <a:r>
                <a:rPr lang="en-US" dirty="0" smtClean="0"/>
                <a:t>0</a:t>
              </a:r>
              <a:endParaRPr lang="en-US" dirty="0"/>
            </a:p>
          </p:txBody>
        </p:sp>
      </p:grpSp>
      <p:sp>
        <p:nvSpPr>
          <p:cNvPr id="140" name="TextBox 139"/>
          <p:cNvSpPr txBox="1"/>
          <p:nvPr/>
        </p:nvSpPr>
        <p:spPr>
          <a:xfrm>
            <a:off x="8828267" y="3585981"/>
            <a:ext cx="856325" cy="369332"/>
          </a:xfrm>
          <a:prstGeom prst="rect">
            <a:avLst/>
          </a:prstGeom>
          <a:noFill/>
        </p:spPr>
        <p:txBody>
          <a:bodyPr wrap="none" rtlCol="0">
            <a:spAutoFit/>
          </a:bodyPr>
          <a:lstStyle/>
          <a:p>
            <a:r>
              <a:rPr lang="en-US" b="1" i="1" dirty="0" smtClean="0">
                <a:solidFill>
                  <a:srgbClr val="FF9900"/>
                </a:solidFill>
              </a:rPr>
              <a:t>IO-Link</a:t>
            </a:r>
            <a:endParaRPr lang="en-US" b="1" i="1" dirty="0">
              <a:solidFill>
                <a:srgbClr val="FF9900"/>
              </a:solidFill>
            </a:endParaRPr>
          </a:p>
        </p:txBody>
      </p:sp>
      <p:grpSp>
        <p:nvGrpSpPr>
          <p:cNvPr id="141" name="Group 140"/>
          <p:cNvGrpSpPr/>
          <p:nvPr/>
        </p:nvGrpSpPr>
        <p:grpSpPr>
          <a:xfrm>
            <a:off x="2861100" y="4046853"/>
            <a:ext cx="5818741" cy="369332"/>
            <a:chOff x="1077817" y="4656463"/>
            <a:chExt cx="5818741" cy="369332"/>
          </a:xfrm>
        </p:grpSpPr>
        <p:sp>
          <p:nvSpPr>
            <p:cNvPr id="142" name="TextBox 141"/>
            <p:cNvSpPr txBox="1"/>
            <p:nvPr/>
          </p:nvSpPr>
          <p:spPr>
            <a:xfrm>
              <a:off x="1077817"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43" name="TextBox 142"/>
            <p:cNvSpPr txBox="1"/>
            <p:nvPr/>
          </p:nvSpPr>
          <p:spPr>
            <a:xfrm>
              <a:off x="1430356"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44" name="TextBox 143"/>
            <p:cNvSpPr txBox="1"/>
            <p:nvPr/>
          </p:nvSpPr>
          <p:spPr>
            <a:xfrm>
              <a:off x="1782895"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45" name="TextBox 144"/>
            <p:cNvSpPr txBox="1"/>
            <p:nvPr/>
          </p:nvSpPr>
          <p:spPr>
            <a:xfrm>
              <a:off x="2135434"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46" name="TextBox 145"/>
            <p:cNvSpPr txBox="1"/>
            <p:nvPr/>
          </p:nvSpPr>
          <p:spPr>
            <a:xfrm>
              <a:off x="2541224"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47" name="TextBox 146"/>
            <p:cNvSpPr txBox="1"/>
            <p:nvPr/>
          </p:nvSpPr>
          <p:spPr>
            <a:xfrm>
              <a:off x="2893763"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48" name="TextBox 147"/>
            <p:cNvSpPr txBox="1"/>
            <p:nvPr/>
          </p:nvSpPr>
          <p:spPr>
            <a:xfrm>
              <a:off x="3246302"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49" name="TextBox 148"/>
            <p:cNvSpPr txBox="1"/>
            <p:nvPr/>
          </p:nvSpPr>
          <p:spPr>
            <a:xfrm>
              <a:off x="3598841"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50" name="TextBox 149"/>
            <p:cNvSpPr txBox="1"/>
            <p:nvPr/>
          </p:nvSpPr>
          <p:spPr>
            <a:xfrm>
              <a:off x="4028502"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51" name="TextBox 150"/>
            <p:cNvSpPr txBox="1"/>
            <p:nvPr/>
          </p:nvSpPr>
          <p:spPr>
            <a:xfrm>
              <a:off x="4381041"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52" name="TextBox 151"/>
            <p:cNvSpPr txBox="1"/>
            <p:nvPr/>
          </p:nvSpPr>
          <p:spPr>
            <a:xfrm>
              <a:off x="4733580"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53" name="TextBox 152"/>
            <p:cNvSpPr txBox="1"/>
            <p:nvPr/>
          </p:nvSpPr>
          <p:spPr>
            <a:xfrm>
              <a:off x="5086119"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54" name="TextBox 153"/>
            <p:cNvSpPr txBox="1"/>
            <p:nvPr/>
          </p:nvSpPr>
          <p:spPr>
            <a:xfrm>
              <a:off x="5486402"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55" name="TextBox 154"/>
            <p:cNvSpPr txBox="1"/>
            <p:nvPr/>
          </p:nvSpPr>
          <p:spPr>
            <a:xfrm>
              <a:off x="5838941"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56" name="TextBox 155"/>
            <p:cNvSpPr txBox="1"/>
            <p:nvPr/>
          </p:nvSpPr>
          <p:spPr>
            <a:xfrm>
              <a:off x="6191480"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57" name="TextBox 156"/>
            <p:cNvSpPr txBox="1"/>
            <p:nvPr/>
          </p:nvSpPr>
          <p:spPr>
            <a:xfrm>
              <a:off x="6544019" y="4656463"/>
              <a:ext cx="352539" cy="369332"/>
            </a:xfrm>
            <a:prstGeom prst="rect">
              <a:avLst/>
            </a:prstGeom>
            <a:noFill/>
            <a:ln>
              <a:solidFill>
                <a:schemeClr val="tx1"/>
              </a:solidFill>
            </a:ln>
          </p:spPr>
          <p:txBody>
            <a:bodyPr wrap="square" rtlCol="0">
              <a:spAutoFit/>
            </a:bodyPr>
            <a:lstStyle/>
            <a:p>
              <a:pPr algn="ctr"/>
              <a:r>
                <a:rPr lang="en-US" dirty="0" smtClean="0"/>
                <a:t>0</a:t>
              </a:r>
              <a:endParaRPr lang="en-US" dirty="0"/>
            </a:p>
          </p:txBody>
        </p:sp>
      </p:grpSp>
      <p:grpSp>
        <p:nvGrpSpPr>
          <p:cNvPr id="158" name="Group 157"/>
          <p:cNvGrpSpPr/>
          <p:nvPr/>
        </p:nvGrpSpPr>
        <p:grpSpPr>
          <a:xfrm>
            <a:off x="2869745" y="4514804"/>
            <a:ext cx="5818741" cy="369332"/>
            <a:chOff x="1077817" y="4656463"/>
            <a:chExt cx="5818741" cy="369332"/>
          </a:xfrm>
        </p:grpSpPr>
        <p:sp>
          <p:nvSpPr>
            <p:cNvPr id="159" name="TextBox 158"/>
            <p:cNvSpPr txBox="1"/>
            <p:nvPr/>
          </p:nvSpPr>
          <p:spPr>
            <a:xfrm>
              <a:off x="1077817"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60" name="TextBox 159"/>
            <p:cNvSpPr txBox="1"/>
            <p:nvPr/>
          </p:nvSpPr>
          <p:spPr>
            <a:xfrm>
              <a:off x="1430356"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61" name="TextBox 160"/>
            <p:cNvSpPr txBox="1"/>
            <p:nvPr/>
          </p:nvSpPr>
          <p:spPr>
            <a:xfrm>
              <a:off x="1782895"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62" name="TextBox 161"/>
            <p:cNvSpPr txBox="1"/>
            <p:nvPr/>
          </p:nvSpPr>
          <p:spPr>
            <a:xfrm>
              <a:off x="2135434"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63" name="TextBox 162"/>
            <p:cNvSpPr txBox="1"/>
            <p:nvPr/>
          </p:nvSpPr>
          <p:spPr>
            <a:xfrm>
              <a:off x="2541224"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64" name="TextBox 163"/>
            <p:cNvSpPr txBox="1"/>
            <p:nvPr/>
          </p:nvSpPr>
          <p:spPr>
            <a:xfrm>
              <a:off x="2893763"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65" name="TextBox 164"/>
            <p:cNvSpPr txBox="1"/>
            <p:nvPr/>
          </p:nvSpPr>
          <p:spPr>
            <a:xfrm>
              <a:off x="3246302"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66" name="TextBox 165"/>
            <p:cNvSpPr txBox="1"/>
            <p:nvPr/>
          </p:nvSpPr>
          <p:spPr>
            <a:xfrm>
              <a:off x="3598841"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67" name="TextBox 166"/>
            <p:cNvSpPr txBox="1"/>
            <p:nvPr/>
          </p:nvSpPr>
          <p:spPr>
            <a:xfrm>
              <a:off x="4028502"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68" name="TextBox 167"/>
            <p:cNvSpPr txBox="1"/>
            <p:nvPr/>
          </p:nvSpPr>
          <p:spPr>
            <a:xfrm>
              <a:off x="4381041"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69" name="TextBox 168"/>
            <p:cNvSpPr txBox="1"/>
            <p:nvPr/>
          </p:nvSpPr>
          <p:spPr>
            <a:xfrm>
              <a:off x="4733580"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70" name="TextBox 169"/>
            <p:cNvSpPr txBox="1"/>
            <p:nvPr/>
          </p:nvSpPr>
          <p:spPr>
            <a:xfrm>
              <a:off x="5086119"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71" name="TextBox 170"/>
            <p:cNvSpPr txBox="1"/>
            <p:nvPr/>
          </p:nvSpPr>
          <p:spPr>
            <a:xfrm>
              <a:off x="5486402"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72" name="TextBox 171"/>
            <p:cNvSpPr txBox="1"/>
            <p:nvPr/>
          </p:nvSpPr>
          <p:spPr>
            <a:xfrm>
              <a:off x="5838941"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73" name="TextBox 172"/>
            <p:cNvSpPr txBox="1"/>
            <p:nvPr/>
          </p:nvSpPr>
          <p:spPr>
            <a:xfrm>
              <a:off x="6191480"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74" name="TextBox 173"/>
            <p:cNvSpPr txBox="1"/>
            <p:nvPr/>
          </p:nvSpPr>
          <p:spPr>
            <a:xfrm>
              <a:off x="6544019" y="4656463"/>
              <a:ext cx="352539" cy="369332"/>
            </a:xfrm>
            <a:prstGeom prst="rect">
              <a:avLst/>
            </a:prstGeom>
            <a:noFill/>
            <a:ln>
              <a:solidFill>
                <a:schemeClr val="tx1"/>
              </a:solidFill>
            </a:ln>
          </p:spPr>
          <p:txBody>
            <a:bodyPr wrap="square" rtlCol="0">
              <a:spAutoFit/>
            </a:bodyPr>
            <a:lstStyle/>
            <a:p>
              <a:pPr algn="ctr"/>
              <a:r>
                <a:rPr lang="en-US" dirty="0" smtClean="0"/>
                <a:t>0</a:t>
              </a:r>
              <a:endParaRPr lang="en-US" dirty="0"/>
            </a:p>
          </p:txBody>
        </p:sp>
      </p:grpSp>
      <p:sp>
        <p:nvSpPr>
          <p:cNvPr id="175" name="TextBox 174"/>
          <p:cNvSpPr txBox="1"/>
          <p:nvPr/>
        </p:nvSpPr>
        <p:spPr>
          <a:xfrm>
            <a:off x="5669866" y="4884136"/>
            <a:ext cx="242371" cy="923330"/>
          </a:xfrm>
          <a:prstGeom prst="rect">
            <a:avLst/>
          </a:prstGeom>
          <a:noFill/>
        </p:spPr>
        <p:txBody>
          <a:bodyPr wrap="square" rtlCol="0">
            <a:spAutoFit/>
          </a:bodyPr>
          <a:lstStyle/>
          <a:p>
            <a:r>
              <a:rPr lang="en-US" dirty="0" smtClean="0"/>
              <a:t>:</a:t>
            </a:r>
          </a:p>
          <a:p>
            <a:r>
              <a:rPr lang="en-US" dirty="0" smtClean="0"/>
              <a:t>:</a:t>
            </a:r>
          </a:p>
          <a:p>
            <a:r>
              <a:rPr lang="en-US" dirty="0"/>
              <a:t>:</a:t>
            </a:r>
          </a:p>
        </p:txBody>
      </p:sp>
      <p:grpSp>
        <p:nvGrpSpPr>
          <p:cNvPr id="176" name="Group 175"/>
          <p:cNvGrpSpPr/>
          <p:nvPr/>
        </p:nvGrpSpPr>
        <p:grpSpPr>
          <a:xfrm>
            <a:off x="2881680" y="5752884"/>
            <a:ext cx="5818741" cy="369332"/>
            <a:chOff x="1077817" y="4656463"/>
            <a:chExt cx="5818741" cy="369332"/>
          </a:xfrm>
        </p:grpSpPr>
        <p:sp>
          <p:nvSpPr>
            <p:cNvPr id="177" name="TextBox 176"/>
            <p:cNvSpPr txBox="1"/>
            <p:nvPr/>
          </p:nvSpPr>
          <p:spPr>
            <a:xfrm>
              <a:off x="1077817"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78" name="TextBox 177"/>
            <p:cNvSpPr txBox="1"/>
            <p:nvPr/>
          </p:nvSpPr>
          <p:spPr>
            <a:xfrm>
              <a:off x="1430356"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79" name="TextBox 178"/>
            <p:cNvSpPr txBox="1"/>
            <p:nvPr/>
          </p:nvSpPr>
          <p:spPr>
            <a:xfrm>
              <a:off x="1782895"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80" name="TextBox 179"/>
            <p:cNvSpPr txBox="1"/>
            <p:nvPr/>
          </p:nvSpPr>
          <p:spPr>
            <a:xfrm>
              <a:off x="2135434"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81" name="TextBox 180"/>
            <p:cNvSpPr txBox="1"/>
            <p:nvPr/>
          </p:nvSpPr>
          <p:spPr>
            <a:xfrm>
              <a:off x="2541224"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82" name="TextBox 181"/>
            <p:cNvSpPr txBox="1"/>
            <p:nvPr/>
          </p:nvSpPr>
          <p:spPr>
            <a:xfrm>
              <a:off x="2893763"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83" name="TextBox 182"/>
            <p:cNvSpPr txBox="1"/>
            <p:nvPr/>
          </p:nvSpPr>
          <p:spPr>
            <a:xfrm>
              <a:off x="3246302"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84" name="TextBox 183"/>
            <p:cNvSpPr txBox="1"/>
            <p:nvPr/>
          </p:nvSpPr>
          <p:spPr>
            <a:xfrm>
              <a:off x="3598841"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85" name="TextBox 184"/>
            <p:cNvSpPr txBox="1"/>
            <p:nvPr/>
          </p:nvSpPr>
          <p:spPr>
            <a:xfrm>
              <a:off x="4028502" y="4656463"/>
              <a:ext cx="352539" cy="369332"/>
            </a:xfrm>
            <a:prstGeom prst="rect">
              <a:avLst/>
            </a:prstGeom>
            <a:noFill/>
            <a:ln>
              <a:solidFill>
                <a:schemeClr val="tx1"/>
              </a:solidFill>
            </a:ln>
          </p:spPr>
          <p:txBody>
            <a:bodyPr wrap="square" rtlCol="0">
              <a:spAutoFit/>
            </a:bodyPr>
            <a:lstStyle/>
            <a:p>
              <a:pPr algn="ctr"/>
              <a:r>
                <a:rPr lang="en-US" dirty="0" smtClean="0"/>
                <a:t>1</a:t>
              </a:r>
              <a:endParaRPr lang="en-US" dirty="0"/>
            </a:p>
          </p:txBody>
        </p:sp>
        <p:sp>
          <p:nvSpPr>
            <p:cNvPr id="186" name="TextBox 185"/>
            <p:cNvSpPr txBox="1"/>
            <p:nvPr/>
          </p:nvSpPr>
          <p:spPr>
            <a:xfrm>
              <a:off x="4381041"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87" name="TextBox 186"/>
            <p:cNvSpPr txBox="1"/>
            <p:nvPr/>
          </p:nvSpPr>
          <p:spPr>
            <a:xfrm>
              <a:off x="4733580"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88" name="TextBox 187"/>
            <p:cNvSpPr txBox="1"/>
            <p:nvPr/>
          </p:nvSpPr>
          <p:spPr>
            <a:xfrm>
              <a:off x="5086119"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89" name="TextBox 188"/>
            <p:cNvSpPr txBox="1"/>
            <p:nvPr/>
          </p:nvSpPr>
          <p:spPr>
            <a:xfrm>
              <a:off x="5486402"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90" name="TextBox 189"/>
            <p:cNvSpPr txBox="1"/>
            <p:nvPr/>
          </p:nvSpPr>
          <p:spPr>
            <a:xfrm>
              <a:off x="5838941"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91" name="TextBox 190"/>
            <p:cNvSpPr txBox="1"/>
            <p:nvPr/>
          </p:nvSpPr>
          <p:spPr>
            <a:xfrm>
              <a:off x="6191480" y="4656463"/>
              <a:ext cx="352539" cy="369332"/>
            </a:xfrm>
            <a:prstGeom prst="rect">
              <a:avLst/>
            </a:prstGeom>
            <a:noFill/>
            <a:ln>
              <a:solidFill>
                <a:schemeClr val="tx1"/>
              </a:solidFill>
            </a:ln>
          </p:spPr>
          <p:txBody>
            <a:bodyPr wrap="square" rtlCol="0">
              <a:spAutoFit/>
            </a:bodyPr>
            <a:lstStyle/>
            <a:p>
              <a:pPr algn="ctr"/>
              <a:r>
                <a:rPr lang="en-US" dirty="0"/>
                <a:t>0</a:t>
              </a:r>
            </a:p>
          </p:txBody>
        </p:sp>
        <p:sp>
          <p:nvSpPr>
            <p:cNvPr id="192" name="TextBox 191"/>
            <p:cNvSpPr txBox="1"/>
            <p:nvPr/>
          </p:nvSpPr>
          <p:spPr>
            <a:xfrm>
              <a:off x="6544019" y="4656463"/>
              <a:ext cx="352539" cy="369332"/>
            </a:xfrm>
            <a:prstGeom prst="rect">
              <a:avLst/>
            </a:prstGeom>
            <a:noFill/>
            <a:ln>
              <a:solidFill>
                <a:schemeClr val="tx1"/>
              </a:solidFill>
            </a:ln>
          </p:spPr>
          <p:txBody>
            <a:bodyPr wrap="square" rtlCol="0">
              <a:spAutoFit/>
            </a:bodyPr>
            <a:lstStyle/>
            <a:p>
              <a:pPr algn="ctr"/>
              <a:r>
                <a:rPr lang="en-US" dirty="0" smtClean="0"/>
                <a:t>0</a:t>
              </a:r>
              <a:endParaRPr lang="en-US" dirty="0"/>
            </a:p>
          </p:txBody>
        </p:sp>
      </p:grpSp>
      <p:sp>
        <p:nvSpPr>
          <p:cNvPr id="193" name="TextBox 192"/>
          <p:cNvSpPr txBox="1"/>
          <p:nvPr/>
        </p:nvSpPr>
        <p:spPr>
          <a:xfrm>
            <a:off x="1743200" y="5752884"/>
            <a:ext cx="1210781" cy="646331"/>
          </a:xfrm>
          <a:prstGeom prst="rect">
            <a:avLst/>
          </a:prstGeom>
          <a:noFill/>
        </p:spPr>
        <p:txBody>
          <a:bodyPr wrap="none" rtlCol="0">
            <a:spAutoFit/>
          </a:bodyPr>
          <a:lstStyle/>
          <a:p>
            <a:r>
              <a:rPr lang="en-US" dirty="0" smtClean="0"/>
              <a:t>256</a:t>
            </a:r>
            <a:r>
              <a:rPr lang="en-US" dirty="0"/>
              <a:t> </a:t>
            </a:r>
            <a:r>
              <a:rPr lang="en-US" dirty="0" smtClean="0"/>
              <a:t>bits </a:t>
            </a:r>
          </a:p>
          <a:p>
            <a:r>
              <a:rPr lang="en-US" dirty="0" smtClean="0"/>
              <a:t>(16x more)</a:t>
            </a:r>
            <a:endParaRPr lang="en-US" dirty="0"/>
          </a:p>
        </p:txBody>
      </p:sp>
    </p:spTree>
    <p:extLst>
      <p:ext uri="{BB962C8B-B14F-4D97-AF65-F5344CB8AC3E}">
        <p14:creationId xmlns:p14="http://schemas.microsoft.com/office/powerpoint/2010/main" val="31470903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de-DE" smtClean="0"/>
              <a:t>pw 12.2015</a:t>
            </a:r>
            <a:endParaRPr lang="de-DE" dirty="0"/>
          </a:p>
        </p:txBody>
      </p:sp>
      <p:sp>
        <p:nvSpPr>
          <p:cNvPr id="5" name="Slide Number Placeholder 4"/>
          <p:cNvSpPr>
            <a:spLocks noGrp="1"/>
          </p:cNvSpPr>
          <p:nvPr>
            <p:ph type="sldNum" sz="quarter" idx="12"/>
          </p:nvPr>
        </p:nvSpPr>
        <p:spPr/>
        <p:txBody>
          <a:bodyPr/>
          <a:lstStyle/>
          <a:p>
            <a:fld id="{09AD34A2-EE0D-B74D-A5FF-4EBBE21DF867}" type="slidenum">
              <a:rPr lang="de-DE" smtClean="0"/>
              <a:t>8</a:t>
            </a:fld>
            <a:endParaRPr lang="de-DE"/>
          </a:p>
        </p:txBody>
      </p:sp>
      <p:pic>
        <p:nvPicPr>
          <p:cNvPr id="6" name="Picture 5"/>
          <p:cNvPicPr>
            <a:picLocks noChangeAspect="1"/>
          </p:cNvPicPr>
          <p:nvPr/>
        </p:nvPicPr>
        <p:blipFill>
          <a:blip r:embed="rId2"/>
          <a:stretch>
            <a:fillRect/>
          </a:stretch>
        </p:blipFill>
        <p:spPr>
          <a:xfrm>
            <a:off x="1664061" y="1419998"/>
            <a:ext cx="8024224" cy="4924877"/>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25507" y="4065587"/>
            <a:ext cx="756843" cy="760413"/>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74214" y="5061279"/>
            <a:ext cx="1459428" cy="810794"/>
          </a:xfrm>
          <a:prstGeom prst="rect">
            <a:avLst/>
          </a:prstGeom>
        </p:spPr>
      </p:pic>
    </p:spTree>
    <p:extLst>
      <p:ext uri="{BB962C8B-B14F-4D97-AF65-F5344CB8AC3E}">
        <p14:creationId xmlns:p14="http://schemas.microsoft.com/office/powerpoint/2010/main" val="1821826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de-DE" smtClean="0"/>
              <a:t>pw 12.2015</a:t>
            </a:r>
            <a:endParaRPr lang="de-DE" dirty="0"/>
          </a:p>
        </p:txBody>
      </p:sp>
      <p:sp>
        <p:nvSpPr>
          <p:cNvPr id="5" name="Slide Number Placeholder 4"/>
          <p:cNvSpPr>
            <a:spLocks noGrp="1"/>
          </p:cNvSpPr>
          <p:nvPr>
            <p:ph type="sldNum" sz="quarter" idx="12"/>
          </p:nvPr>
        </p:nvSpPr>
        <p:spPr/>
        <p:txBody>
          <a:bodyPr/>
          <a:lstStyle/>
          <a:p>
            <a:fld id="{09AD34A2-EE0D-B74D-A5FF-4EBBE21DF867}" type="slidenum">
              <a:rPr lang="de-DE" smtClean="0"/>
              <a:t>9</a:t>
            </a:fld>
            <a:endParaRPr lang="de-DE"/>
          </a:p>
        </p:txBody>
      </p:sp>
      <p:grpSp>
        <p:nvGrpSpPr>
          <p:cNvPr id="6" name="Group 5"/>
          <p:cNvGrpSpPr/>
          <p:nvPr/>
        </p:nvGrpSpPr>
        <p:grpSpPr>
          <a:xfrm>
            <a:off x="1257161" y="1419586"/>
            <a:ext cx="8868514" cy="4928873"/>
            <a:chOff x="129352" y="1537427"/>
            <a:chExt cx="8868514" cy="4928873"/>
          </a:xfrm>
        </p:grpSpPr>
        <p:pic>
          <p:nvPicPr>
            <p:cNvPr id="7" name="Picture 6"/>
            <p:cNvPicPr>
              <a:picLocks noChangeAspect="1"/>
            </p:cNvPicPr>
            <p:nvPr/>
          </p:nvPicPr>
          <p:blipFill>
            <a:blip r:embed="rId2"/>
            <a:stretch>
              <a:fillRect/>
            </a:stretch>
          </p:blipFill>
          <p:spPr>
            <a:xfrm>
              <a:off x="5776951" y="1537427"/>
              <a:ext cx="2584362" cy="925481"/>
            </a:xfrm>
            <a:prstGeom prst="rect">
              <a:avLst/>
            </a:prstGeom>
          </p:spPr>
        </p:pic>
        <p:cxnSp>
          <p:nvCxnSpPr>
            <p:cNvPr id="8" name="Straight Connector 7"/>
            <p:cNvCxnSpPr/>
            <p:nvPr/>
          </p:nvCxnSpPr>
          <p:spPr>
            <a:xfrm flipV="1">
              <a:off x="4623365" y="3036027"/>
              <a:ext cx="2032000" cy="12700"/>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flipV="1">
              <a:off x="6655365" y="2462908"/>
              <a:ext cx="12700" cy="573119"/>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3977986" y="2268932"/>
              <a:ext cx="1241943" cy="307777"/>
            </a:xfrm>
            <a:prstGeom prst="rect">
              <a:avLst/>
            </a:prstGeom>
            <a:noFill/>
          </p:spPr>
          <p:txBody>
            <a:bodyPr wrap="none" rtlCol="0">
              <a:spAutoFit/>
            </a:bodyPr>
            <a:lstStyle/>
            <a:p>
              <a:r>
                <a:rPr lang="en-US" sz="1400" dirty="0" smtClean="0"/>
                <a:t>IO Link Master</a:t>
              </a:r>
              <a:endParaRPr lang="en-US" sz="1400" dirty="0"/>
            </a:p>
          </p:txBody>
        </p:sp>
        <p:pic>
          <p:nvPicPr>
            <p:cNvPr id="11" name="Picture 10"/>
            <p:cNvPicPr>
              <a:picLocks noChangeAspect="1"/>
            </p:cNvPicPr>
            <p:nvPr/>
          </p:nvPicPr>
          <p:blipFill>
            <a:blip r:embed="rId3"/>
            <a:stretch>
              <a:fillRect/>
            </a:stretch>
          </p:blipFill>
          <p:spPr>
            <a:xfrm>
              <a:off x="202955" y="5657538"/>
              <a:ext cx="942257" cy="753193"/>
            </a:xfrm>
            <a:prstGeom prst="rect">
              <a:avLst/>
            </a:prstGeom>
          </p:spPr>
        </p:pic>
        <p:sp>
          <p:nvSpPr>
            <p:cNvPr id="12" name="TextBox 11"/>
            <p:cNvSpPr txBox="1"/>
            <p:nvPr/>
          </p:nvSpPr>
          <p:spPr>
            <a:xfrm>
              <a:off x="129352" y="5334372"/>
              <a:ext cx="1127809" cy="276999"/>
            </a:xfrm>
            <a:prstGeom prst="rect">
              <a:avLst/>
            </a:prstGeom>
            <a:noFill/>
          </p:spPr>
          <p:txBody>
            <a:bodyPr wrap="none" rtlCol="0">
              <a:spAutoFit/>
            </a:bodyPr>
            <a:lstStyle/>
            <a:p>
              <a:r>
                <a:rPr lang="en-US" sz="1200" dirty="0" smtClean="0"/>
                <a:t>IO Link Sensors</a:t>
              </a:r>
              <a:endParaRPr lang="en-US" sz="1200" dirty="0"/>
            </a:p>
          </p:txBody>
        </p:sp>
        <p:pic>
          <p:nvPicPr>
            <p:cNvPr id="13" name="Picture 12"/>
            <p:cNvPicPr>
              <a:picLocks noChangeAspect="1"/>
            </p:cNvPicPr>
            <p:nvPr/>
          </p:nvPicPr>
          <p:blipFill>
            <a:blip r:embed="rId4"/>
            <a:stretch>
              <a:fillRect/>
            </a:stretch>
          </p:blipFill>
          <p:spPr>
            <a:xfrm>
              <a:off x="1360737" y="5842204"/>
              <a:ext cx="1282836" cy="469771"/>
            </a:xfrm>
            <a:prstGeom prst="rect">
              <a:avLst/>
            </a:prstGeom>
          </p:spPr>
        </p:pic>
        <p:sp>
          <p:nvSpPr>
            <p:cNvPr id="14" name="TextBox 13"/>
            <p:cNvSpPr txBox="1"/>
            <p:nvPr/>
          </p:nvSpPr>
          <p:spPr>
            <a:xfrm>
              <a:off x="1491245" y="5365303"/>
              <a:ext cx="1090363" cy="461665"/>
            </a:xfrm>
            <a:prstGeom prst="rect">
              <a:avLst/>
            </a:prstGeom>
            <a:noFill/>
          </p:spPr>
          <p:txBody>
            <a:bodyPr wrap="none" rtlCol="0">
              <a:spAutoFit/>
            </a:bodyPr>
            <a:lstStyle/>
            <a:p>
              <a:r>
                <a:rPr lang="en-US" sz="1200" dirty="0" err="1" smtClean="0"/>
                <a:t>Input/Output</a:t>
              </a:r>
              <a:r>
                <a:rPr lang="en-US" sz="1200" dirty="0" smtClean="0"/>
                <a:t> </a:t>
              </a:r>
            </a:p>
            <a:p>
              <a:r>
                <a:rPr lang="en-US" sz="1200" dirty="0" smtClean="0"/>
                <a:t>Sensors hubs</a:t>
              </a:r>
              <a:endParaRPr lang="en-US" sz="1200" dirty="0"/>
            </a:p>
          </p:txBody>
        </p:sp>
        <p:pic>
          <p:nvPicPr>
            <p:cNvPr id="15" name="Picture 14"/>
            <p:cNvPicPr>
              <a:picLocks noChangeAspect="1"/>
            </p:cNvPicPr>
            <p:nvPr/>
          </p:nvPicPr>
          <p:blipFill>
            <a:blip r:embed="rId5"/>
            <a:stretch>
              <a:fillRect/>
            </a:stretch>
          </p:blipFill>
          <p:spPr>
            <a:xfrm>
              <a:off x="2967220" y="5826968"/>
              <a:ext cx="703287" cy="575601"/>
            </a:xfrm>
            <a:prstGeom prst="rect">
              <a:avLst/>
            </a:prstGeom>
          </p:spPr>
        </p:pic>
        <p:sp>
          <p:nvSpPr>
            <p:cNvPr id="16" name="TextBox 15"/>
            <p:cNvSpPr txBox="1"/>
            <p:nvPr/>
          </p:nvSpPr>
          <p:spPr>
            <a:xfrm>
              <a:off x="2855271" y="5365303"/>
              <a:ext cx="968535" cy="461665"/>
            </a:xfrm>
            <a:prstGeom prst="rect">
              <a:avLst/>
            </a:prstGeom>
            <a:noFill/>
          </p:spPr>
          <p:txBody>
            <a:bodyPr wrap="none" rtlCol="0">
              <a:spAutoFit/>
            </a:bodyPr>
            <a:lstStyle/>
            <a:p>
              <a:r>
                <a:rPr lang="en-US" sz="1200" dirty="0" smtClean="0"/>
                <a:t>RFID IO Link </a:t>
              </a:r>
            </a:p>
            <a:p>
              <a:r>
                <a:rPr lang="en-US" sz="1200" dirty="0" smtClean="0"/>
                <a:t>antenna</a:t>
              </a:r>
              <a:endParaRPr lang="en-US" sz="1200" dirty="0"/>
            </a:p>
          </p:txBody>
        </p:sp>
        <p:sp>
          <p:nvSpPr>
            <p:cNvPr id="17" name="TextBox 16"/>
            <p:cNvSpPr txBox="1"/>
            <p:nvPr/>
          </p:nvSpPr>
          <p:spPr>
            <a:xfrm>
              <a:off x="5184663" y="5382073"/>
              <a:ext cx="1394934" cy="276999"/>
            </a:xfrm>
            <a:prstGeom prst="rect">
              <a:avLst/>
            </a:prstGeom>
            <a:noFill/>
          </p:spPr>
          <p:txBody>
            <a:bodyPr wrap="none" rtlCol="0">
              <a:spAutoFit/>
            </a:bodyPr>
            <a:lstStyle/>
            <a:p>
              <a:r>
                <a:rPr lang="en-US" sz="1200" dirty="0" smtClean="0"/>
                <a:t>Analog I/O solution</a:t>
              </a:r>
              <a:endParaRPr lang="en-US" sz="1200" dirty="0"/>
            </a:p>
          </p:txBody>
        </p:sp>
        <p:pic>
          <p:nvPicPr>
            <p:cNvPr id="18" name="Picture 17"/>
            <p:cNvPicPr>
              <a:picLocks noChangeAspect="1"/>
            </p:cNvPicPr>
            <p:nvPr/>
          </p:nvPicPr>
          <p:blipFill>
            <a:blip r:embed="rId6"/>
            <a:stretch>
              <a:fillRect/>
            </a:stretch>
          </p:blipFill>
          <p:spPr>
            <a:xfrm>
              <a:off x="4065129" y="5770384"/>
              <a:ext cx="800903" cy="695916"/>
            </a:xfrm>
            <a:prstGeom prst="rect">
              <a:avLst/>
            </a:prstGeom>
          </p:spPr>
        </p:pic>
        <p:sp>
          <p:nvSpPr>
            <p:cNvPr id="19" name="TextBox 18"/>
            <p:cNvSpPr txBox="1"/>
            <p:nvPr/>
          </p:nvSpPr>
          <p:spPr>
            <a:xfrm>
              <a:off x="3886102" y="5365303"/>
              <a:ext cx="1333827" cy="276999"/>
            </a:xfrm>
            <a:prstGeom prst="rect">
              <a:avLst/>
            </a:prstGeom>
            <a:noFill/>
          </p:spPr>
          <p:txBody>
            <a:bodyPr wrap="none" rtlCol="0">
              <a:spAutoFit/>
            </a:bodyPr>
            <a:lstStyle/>
            <a:p>
              <a:r>
                <a:rPr lang="en-US" sz="1200" dirty="0" smtClean="0"/>
                <a:t>IO Link stack lights</a:t>
              </a:r>
              <a:endParaRPr lang="en-US" sz="1200" dirty="0"/>
            </a:p>
          </p:txBody>
        </p:sp>
        <p:sp>
          <p:nvSpPr>
            <p:cNvPr id="20" name="TextBox 19"/>
            <p:cNvSpPr txBox="1"/>
            <p:nvPr/>
          </p:nvSpPr>
          <p:spPr>
            <a:xfrm>
              <a:off x="6609138" y="5382073"/>
              <a:ext cx="1172437" cy="276999"/>
            </a:xfrm>
            <a:prstGeom prst="rect">
              <a:avLst/>
            </a:prstGeom>
            <a:noFill/>
          </p:spPr>
          <p:txBody>
            <a:bodyPr wrap="none" rtlCol="0">
              <a:spAutoFit/>
            </a:bodyPr>
            <a:lstStyle/>
            <a:p>
              <a:r>
                <a:rPr lang="en-US" sz="1200" dirty="0" smtClean="0"/>
                <a:t>Display solution</a:t>
              </a:r>
              <a:endParaRPr lang="en-US" sz="1200" dirty="0"/>
            </a:p>
          </p:txBody>
        </p:sp>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49903" y="5726255"/>
              <a:ext cx="622822" cy="622822"/>
            </a:xfrm>
            <a:prstGeom prst="rect">
              <a:avLst/>
            </a:prstGeom>
          </p:spPr>
        </p:pic>
        <p:pic>
          <p:nvPicPr>
            <p:cNvPr id="22" name="Picture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61496" y="5702227"/>
              <a:ext cx="663813" cy="663813"/>
            </a:xfrm>
            <a:prstGeom prst="rect">
              <a:avLst/>
            </a:prstGeom>
          </p:spPr>
        </p:pic>
        <p:pic>
          <p:nvPicPr>
            <p:cNvPr id="23" name="Picture 2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72594" y="5720517"/>
              <a:ext cx="645523" cy="645523"/>
            </a:xfrm>
            <a:prstGeom prst="rect">
              <a:avLst/>
            </a:prstGeom>
          </p:spPr>
        </p:pic>
        <p:sp>
          <p:nvSpPr>
            <p:cNvPr id="24" name="TextBox 23"/>
            <p:cNvSpPr txBox="1"/>
            <p:nvPr/>
          </p:nvSpPr>
          <p:spPr>
            <a:xfrm>
              <a:off x="7724761" y="5382073"/>
              <a:ext cx="1273105" cy="276999"/>
            </a:xfrm>
            <a:prstGeom prst="rect">
              <a:avLst/>
            </a:prstGeom>
            <a:noFill/>
          </p:spPr>
          <p:txBody>
            <a:bodyPr wrap="none" rtlCol="0">
              <a:spAutoFit/>
            </a:bodyPr>
            <a:lstStyle/>
            <a:p>
              <a:r>
                <a:rPr lang="en-US" sz="1200" dirty="0" smtClean="0"/>
                <a:t>Circuit protection</a:t>
              </a:r>
              <a:endParaRPr lang="en-US" sz="1200" dirty="0"/>
            </a:p>
          </p:txBody>
        </p:sp>
        <p:cxnSp>
          <p:nvCxnSpPr>
            <p:cNvPr id="25" name="Straight Connector 24"/>
            <p:cNvCxnSpPr/>
            <p:nvPr/>
          </p:nvCxnSpPr>
          <p:spPr>
            <a:xfrm flipH="1" flipV="1">
              <a:off x="731520" y="3570514"/>
              <a:ext cx="3631475" cy="26127"/>
            </a:xfrm>
            <a:prstGeom prst="line">
              <a:avLst/>
            </a:prstGeom>
            <a:ln>
              <a:solidFill>
                <a:schemeClr val="bg1">
                  <a:lumMod val="50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flipV="1">
              <a:off x="731520" y="3570515"/>
              <a:ext cx="0" cy="1698171"/>
            </a:xfrm>
            <a:prstGeom prst="line">
              <a:avLst/>
            </a:prstGeom>
            <a:ln>
              <a:solidFill>
                <a:schemeClr val="bg1">
                  <a:lumMod val="50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flipH="1">
              <a:off x="1968137" y="3884023"/>
              <a:ext cx="2394858" cy="0"/>
            </a:xfrm>
            <a:prstGeom prst="line">
              <a:avLst/>
            </a:prstGeom>
            <a:ln>
              <a:solidFill>
                <a:schemeClr val="bg1">
                  <a:lumMod val="50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1968137" y="3884023"/>
              <a:ext cx="0" cy="1384663"/>
            </a:xfrm>
            <a:prstGeom prst="line">
              <a:avLst/>
            </a:prstGeom>
            <a:ln>
              <a:solidFill>
                <a:schemeClr val="bg1">
                  <a:lumMod val="50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flipH="1">
              <a:off x="3344091" y="4162697"/>
              <a:ext cx="1018904" cy="0"/>
            </a:xfrm>
            <a:prstGeom prst="line">
              <a:avLst/>
            </a:prstGeom>
            <a:ln>
              <a:solidFill>
                <a:schemeClr val="bg1">
                  <a:lumMod val="50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3344091" y="4162697"/>
              <a:ext cx="8709" cy="1105989"/>
            </a:xfrm>
            <a:prstGeom prst="line">
              <a:avLst/>
            </a:prstGeom>
            <a:ln>
              <a:solidFill>
                <a:schemeClr val="bg1">
                  <a:lumMod val="50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flipV="1">
              <a:off x="4736398" y="3583577"/>
              <a:ext cx="3501911" cy="23651"/>
            </a:xfrm>
            <a:prstGeom prst="line">
              <a:avLst/>
            </a:prstGeom>
            <a:ln>
              <a:solidFill>
                <a:schemeClr val="bg1">
                  <a:lumMod val="50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8238309" y="3583577"/>
              <a:ext cx="0" cy="1754777"/>
            </a:xfrm>
            <a:prstGeom prst="line">
              <a:avLst/>
            </a:prstGeom>
            <a:ln>
              <a:solidFill>
                <a:schemeClr val="bg1">
                  <a:lumMod val="50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4736398" y="3884023"/>
              <a:ext cx="2458958" cy="0"/>
            </a:xfrm>
            <a:prstGeom prst="line">
              <a:avLst/>
            </a:prstGeom>
            <a:ln>
              <a:solidFill>
                <a:schemeClr val="bg1">
                  <a:lumMod val="50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7195356" y="3884023"/>
              <a:ext cx="0" cy="1454331"/>
            </a:xfrm>
            <a:prstGeom prst="line">
              <a:avLst/>
            </a:prstGeom>
            <a:ln>
              <a:solidFill>
                <a:schemeClr val="bg1">
                  <a:lumMod val="50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4736398" y="4162697"/>
              <a:ext cx="1057005" cy="0"/>
            </a:xfrm>
            <a:prstGeom prst="line">
              <a:avLst/>
            </a:prstGeom>
            <a:ln>
              <a:solidFill>
                <a:schemeClr val="bg1">
                  <a:lumMod val="50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a:off x="5793403" y="4162697"/>
              <a:ext cx="0" cy="1175657"/>
            </a:xfrm>
            <a:prstGeom prst="line">
              <a:avLst/>
            </a:prstGeom>
            <a:ln>
              <a:solidFill>
                <a:schemeClr val="bg1">
                  <a:lumMod val="50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flipH="1">
              <a:off x="4180114" y="4426131"/>
              <a:ext cx="182881" cy="0"/>
            </a:xfrm>
            <a:prstGeom prst="line">
              <a:avLst/>
            </a:prstGeom>
            <a:ln>
              <a:solidFill>
                <a:schemeClr val="bg1">
                  <a:lumMod val="50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a:off x="4180114" y="4426131"/>
              <a:ext cx="0" cy="842555"/>
            </a:xfrm>
            <a:prstGeom prst="line">
              <a:avLst/>
            </a:prstGeom>
            <a:ln>
              <a:solidFill>
                <a:schemeClr val="bg1">
                  <a:lumMod val="50000"/>
                </a:schemeClr>
              </a:solidFill>
              <a:prstDash val="solid"/>
            </a:ln>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flipH="1">
              <a:off x="1968137" y="3013166"/>
              <a:ext cx="2394858" cy="0"/>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V="1">
              <a:off x="1968137" y="2269221"/>
              <a:ext cx="0" cy="743945"/>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pic>
          <p:nvPicPr>
            <p:cNvPr id="41" name="Grafik 64"/>
            <p:cNvPicPr>
              <a:picLocks noChangeAspect="1"/>
            </p:cNvPicPr>
            <p:nvPr/>
          </p:nvPicPr>
          <p:blipFill rotWithShape="1">
            <a:blip r:embed="rId10" cstate="print">
              <a:extLst>
                <a:ext uri="{28A0092B-C50C-407E-A947-70E740481C1C}">
                  <a14:useLocalDpi xmlns:a14="http://schemas.microsoft.com/office/drawing/2010/main" val="0"/>
                </a:ext>
              </a:extLst>
            </a:blip>
            <a:srcRect t="12116"/>
            <a:stretch/>
          </p:blipFill>
          <p:spPr bwMode="auto">
            <a:xfrm>
              <a:off x="3797301" y="2702468"/>
              <a:ext cx="338949" cy="273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41"/>
            <p:cNvPicPr>
              <a:picLocks noChangeAspect="1"/>
            </p:cNvPicPr>
            <p:nvPr/>
          </p:nvPicPr>
          <p:blipFill>
            <a:blip r:embed="rId11"/>
            <a:stretch>
              <a:fillRect/>
            </a:stretch>
          </p:blipFill>
          <p:spPr>
            <a:xfrm>
              <a:off x="1445950" y="1865278"/>
              <a:ext cx="1180952" cy="371429"/>
            </a:xfrm>
            <a:prstGeom prst="rect">
              <a:avLst/>
            </a:prstGeom>
          </p:spPr>
        </p:pic>
        <p:pic>
          <p:nvPicPr>
            <p:cNvPr id="43" name="Grafik 5"/>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4198582" y="2641193"/>
              <a:ext cx="620466" cy="2095907"/>
            </a:xfrm>
            <a:prstGeom prst="rect">
              <a:avLst/>
            </a:prstGeom>
          </p:spPr>
        </p:pic>
      </p:grpSp>
    </p:spTree>
    <p:extLst>
      <p:ext uri="{BB962C8B-B14F-4D97-AF65-F5344CB8AC3E}">
        <p14:creationId xmlns:p14="http://schemas.microsoft.com/office/powerpoint/2010/main" val="40222016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f7rFR0Xb0yqziNBMjTrA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OVOXCFNhUmg_.yS_hgO0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xFRS4ESgUikGiTF94mI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Xix5ZNLKk23kxWqtPKb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7.5Azre7EW4sbJLhOND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gpRJuoMsEy07jqnECTr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dlpNj8odUCllMPxnbGPZ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CpZRhUZmUqcAGMGWezOY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OVOXCFNhUmg_.yS_hgO0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vJvY34kgUyI5dLTAVzD0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Gg_xcQFy02Ow82f9TMc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lpNj8odUCllMPxnbGPZ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XA1jl5o5UiJCaTsB6SZ_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CAAuMxRUmrP56yL1d8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fPVLQSgW02iX0L920mmJ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SbOSAh9AEiAlplE3rZa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fPVLQSgW02iX0L920mmJ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8T9UyGTa0mCv03AQ_5EX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fPVLQSgW02iX0L920mmJ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fPVLQSgW02iX0L920mmJ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fPVLQSgW02iX0L920mm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CpZRhUZmUqcAGMGWezO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OVOXCFNhUmg_.yS_hgO0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OVOXCFNhUmg_.yS_hgO0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SSwYY1m00Wfr3kdZTBK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f7rFR0Xb0yqziNBMjTr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1o0Ly4y3U.VEm7Ng2Cv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quzEELR9EGAlptS6oQnMw"/>
</p:tagLst>
</file>

<file path=ppt/theme/theme1.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Kategorie xmlns="fcfafdcd-f1b3-46e3-8bf5-e38f7e40648f">
      <Value>14</Value>
    </Kategorie>
    <Dokumentenstatus xmlns="fcfafdcd-f1b3-46e3-8bf5-e38f7e40648f">Approved</Dokumentenstatus>
  </documentManagement>
</p:properties>
</file>

<file path=customXml/item3.xml><?xml version="1.0" encoding="utf-8"?>
<ct:contentTypeSchema xmlns:ct="http://schemas.microsoft.com/office/2006/metadata/contentType" xmlns:ma="http://schemas.microsoft.com/office/2006/metadata/properties/metaAttributes" ct:_="" ma:_="" ma:contentTypeName="ifmDokument" ma:contentTypeID="0x010100C7648DC07E033F4DAA70C5C309F2287900634131C95B4DC64DA2316CFBA816FB3B" ma:contentTypeVersion="6" ma:contentTypeDescription="Create a new document." ma:contentTypeScope="" ma:versionID="7163817ef67b3f8590e103294b71840e">
  <xsd:schema xmlns:xsd="http://www.w3.org/2001/XMLSchema" xmlns:xs="http://www.w3.org/2001/XMLSchema" xmlns:p="http://schemas.microsoft.com/office/2006/metadata/properties" xmlns:ns2="fcfafdcd-f1b3-46e3-8bf5-e38f7e40648f" targetNamespace="http://schemas.microsoft.com/office/2006/metadata/properties" ma:root="true" ma:fieldsID="6ce5cb3c8f4ce1c3652780d82b975b3f" ns2:_="">
    <xsd:import namespace="fcfafdcd-f1b3-46e3-8bf5-e38f7e40648f"/>
    <xsd:element name="properties">
      <xsd:complexType>
        <xsd:sequence>
          <xsd:element name="documentManagement">
            <xsd:complexType>
              <xsd:all>
                <xsd:element ref="ns2:Kategorie" minOccurs="0"/>
                <xsd:element ref="ns2:Dokumenten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fafdcd-f1b3-46e3-8bf5-e38f7e40648f" elementFormDefault="qualified">
    <xsd:import namespace="http://schemas.microsoft.com/office/2006/documentManagement/types"/>
    <xsd:import namespace="http://schemas.microsoft.com/office/infopath/2007/PartnerControls"/>
    <xsd:element name="Kategorie" ma:index="8" nillable="true" ma:displayName="Categorie" ma:list="{5f106eed-f5f7-42ce-945c-8cea42a242c7}" ma:internalName="Kategorie" ma:showField="Title" ma:web="0372ec49-f26c-4995-85ca-7a1877fdd70e">
      <xsd:complexType>
        <xsd:complexContent>
          <xsd:extension base="dms:MultiChoiceLookup">
            <xsd:sequence>
              <xsd:element name="Value" type="dms:Lookup" maxOccurs="unbounded" minOccurs="0" nillable="true"/>
            </xsd:sequence>
          </xsd:extension>
        </xsd:complexContent>
      </xsd:complexType>
    </xsd:element>
    <xsd:element name="Dokumentenstatus" ma:index="9" nillable="true" ma:displayName="Document Status" ma:default="Draft" ma:format="Dropdown" ma:internalName="Dokumentenstatus">
      <xsd:simpleType>
        <xsd:restriction base="dms:Choice">
          <xsd:enumeration value="Draft"/>
          <xsd:enumeration value="Approved"/>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9C28409-3653-40CA-82F7-02B29725C2E1}">
  <ds:schemaRefs>
    <ds:schemaRef ds:uri="http://schemas.microsoft.com/sharepoint/v3/contenttype/forms"/>
  </ds:schemaRefs>
</ds:datastoreItem>
</file>

<file path=customXml/itemProps2.xml><?xml version="1.0" encoding="utf-8"?>
<ds:datastoreItem xmlns:ds="http://schemas.openxmlformats.org/officeDocument/2006/customXml" ds:itemID="{692C1532-2E1A-4A57-B1ED-0D5F673BD2CF}">
  <ds:schemaRefs>
    <ds:schemaRef ds:uri="http://schemas.microsoft.com/office/2006/documentManagement/types"/>
    <ds:schemaRef ds:uri="http://purl.org/dc/elements/1.1/"/>
    <ds:schemaRef ds:uri="http://schemas.microsoft.com/office/infopath/2007/PartnerControls"/>
    <ds:schemaRef ds:uri="http://www.w3.org/XML/1998/namespace"/>
    <ds:schemaRef ds:uri="http://schemas.openxmlformats.org/package/2006/metadata/core-properties"/>
    <ds:schemaRef ds:uri="fcfafdcd-f1b3-46e3-8bf5-e38f7e40648f"/>
    <ds:schemaRef ds:uri="http://schemas.microsoft.com/office/2006/metadata/properties"/>
    <ds:schemaRef ds:uri="http://purl.org/dc/dcmitype/"/>
    <ds:schemaRef ds:uri="http://purl.org/dc/terms/"/>
  </ds:schemaRefs>
</ds:datastoreItem>
</file>

<file path=customXml/itemProps3.xml><?xml version="1.0" encoding="utf-8"?>
<ds:datastoreItem xmlns:ds="http://schemas.openxmlformats.org/officeDocument/2006/customXml" ds:itemID="{3AF4AFAF-5A1D-443B-9BF2-9E0286F3DB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fafdcd-f1b3-46e3-8bf5-e38f7e4064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70</TotalTime>
  <Words>902</Words>
  <Application>Microsoft Office PowerPoint</Application>
  <PresentationFormat>Widescreen</PresentationFormat>
  <Paragraphs>323</Paragraphs>
  <Slides>20</Slides>
  <Notes>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MS PGothic</vt:lpstr>
      <vt:lpstr>MS PGothic</vt:lpstr>
      <vt:lpstr>Arial</vt:lpstr>
      <vt:lpstr>Calibri</vt:lpstr>
      <vt:lpstr>Wingdings</vt:lpstr>
      <vt:lpstr>Office-Design</vt:lpstr>
      <vt:lpstr>Image</vt:lpstr>
      <vt:lpstr>PowerPoint Presentation</vt:lpstr>
      <vt:lpstr>PowerPoint Presentation</vt:lpstr>
      <vt:lpstr>Overall Equipment Efficiency (OEE)  = Material Availability X Machine Availability X Quality of production</vt:lpstr>
      <vt:lpstr>Machine Availability = Predicative Maintenance by monitoring Vital machine operating parameters  Quality of Production = Minimum Rejection rate by monitoring process / machine operating parameters which affect Quality of production / work pie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reakdown time caused by Proximity Switch Damage in Heavy Equipment? No More!!! Many times, proximity switches are damaged by the larger than ideal mechanical play in the moving machine components. So, the sensing target or the proximity moves either too close to proximity switch and proximity switch gets mechanically damaged. OR The sensing target moves away from the proximity switch and does not get sensed at all. Both these conditions cause break downs, which can cause big down time costs for the equipment and also product loss. Solution: Monitor the actual sensing distance of critical applications with ifm IO link proximity switches connected to ifm IO link masters (PLC remote IOs which can read and write values to IO link devices).</vt:lpstr>
      <vt:lpstr>PowerPoint Presentation</vt:lpstr>
      <vt:lpstr>PowerPoint Presentation</vt:lpstr>
    </vt:vector>
  </TitlesOfParts>
  <Company>ifm electronic gmbh</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ifm electronic gmbh ifm electronic gmbh</dc:creator>
  <cp:lastModifiedBy>Bipin Jirge</cp:lastModifiedBy>
  <cp:revision>287</cp:revision>
  <cp:lastPrinted>2015-12-01T10:19:06Z</cp:lastPrinted>
  <dcterms:created xsi:type="dcterms:W3CDTF">2015-11-27T12:20:45Z</dcterms:created>
  <dcterms:modified xsi:type="dcterms:W3CDTF">2018-10-24T15:1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648DC07E033F4DAA70C5C309F2287900634131C95B4DC64DA2316CFBA816FB3B</vt:lpwstr>
  </property>
</Properties>
</file>